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media/image9.jpg" ContentType="image/jpg"/>
  <Override PartName="/ppt/media/image10.jpg" ContentType="image/jpg"/>
  <Override PartName="/ppt/media/image11.jpg" ContentType="image/jpg"/>
  <Override PartName="/ppt/media/image12.jpg" ContentType="image/jpg"/>
  <Override PartName="/ppt/media/image13.jpg" ContentType="image/jpg"/>
  <Override PartName="/ppt/media/image14.jpg" ContentType="image/jpg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media/image15.jpg" ContentType="image/jpg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media/image17.jpg" ContentType="image/jpg"/>
  <Override PartName="/ppt/media/image19.jpg" ContentType="image/jpg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</p:sldMasterIdLst>
  <p:notesMasterIdLst>
    <p:notesMasterId r:id="rId37"/>
  </p:notesMasterIdLst>
  <p:sldIdLst>
    <p:sldId id="256" r:id="rId2"/>
    <p:sldId id="291" r:id="rId3"/>
    <p:sldId id="292" r:id="rId4"/>
    <p:sldId id="293" r:id="rId5"/>
    <p:sldId id="259" r:id="rId6"/>
    <p:sldId id="294" r:id="rId7"/>
    <p:sldId id="261" r:id="rId8"/>
    <p:sldId id="262" r:id="rId9"/>
    <p:sldId id="295" r:id="rId10"/>
    <p:sldId id="296" r:id="rId11"/>
    <p:sldId id="297" r:id="rId12"/>
    <p:sldId id="299" r:id="rId13"/>
    <p:sldId id="300" r:id="rId14"/>
    <p:sldId id="301" r:id="rId15"/>
    <p:sldId id="269" r:id="rId16"/>
    <p:sldId id="270" r:id="rId17"/>
    <p:sldId id="271" r:id="rId18"/>
    <p:sldId id="272" r:id="rId19"/>
    <p:sldId id="273" r:id="rId20"/>
    <p:sldId id="274" r:id="rId21"/>
    <p:sldId id="275" r:id="rId22"/>
    <p:sldId id="276" r:id="rId23"/>
    <p:sldId id="277" r:id="rId24"/>
    <p:sldId id="278" r:id="rId25"/>
    <p:sldId id="279" r:id="rId26"/>
    <p:sldId id="280" r:id="rId27"/>
    <p:sldId id="281" r:id="rId28"/>
    <p:sldId id="282" r:id="rId29"/>
    <p:sldId id="283" r:id="rId30"/>
    <p:sldId id="284" r:id="rId31"/>
    <p:sldId id="285" r:id="rId32"/>
    <p:sldId id="286" r:id="rId33"/>
    <p:sldId id="287" r:id="rId34"/>
    <p:sldId id="288" r:id="rId35"/>
    <p:sldId id="289" r:id="rId36"/>
  </p:sldIdLst>
  <p:sldSz cx="9359900" cy="5257800"/>
  <p:notesSz cx="9359900" cy="52578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102"/>
    <p:restoredTop sz="94647"/>
  </p:normalViewPr>
  <p:slideViewPr>
    <p:cSldViewPr>
      <p:cViewPr varScale="1">
        <p:scale>
          <a:sx n="152" d="100"/>
          <a:sy n="152" d="100"/>
        </p:scale>
        <p:origin x="200" y="816"/>
      </p:cViewPr>
      <p:guideLst>
        <p:guide orient="horz" pos="2880"/>
        <p:guide pos="2160"/>
      </p:guideLst>
    </p:cSldViewPr>
  </p:slideViewPr>
  <p:outlineViewPr>
    <p:cViewPr>
      <p:scale>
        <a:sx n="33" d="100"/>
        <a:sy n="33" d="100"/>
      </p:scale>
      <p:origin x="0" y="-448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56063" cy="2635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302250" y="0"/>
            <a:ext cx="4056063" cy="2635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76DB50-3B5C-D948-92ED-FD2C3738A917}" type="datetimeFigureOut">
              <a:rPr lang="en-US" smtClean="0"/>
              <a:t>11/20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100388" y="657225"/>
            <a:ext cx="3159125" cy="17748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36625" y="2530475"/>
            <a:ext cx="7486650" cy="2070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4994275"/>
            <a:ext cx="4056063" cy="2635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302250" y="4994275"/>
            <a:ext cx="4056063" cy="2635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3A0FDA-9BA1-B642-A070-939618895D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30041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3A0FDA-9BA1-B642-A070-939618895DCA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07887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3A0FDA-9BA1-B642-A070-939618895DC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14150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3A0FDA-9BA1-B642-A070-939618895DCA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72363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3A0FDA-9BA1-B642-A070-939618895DCA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540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3A0FDA-9BA1-B642-A070-939618895DCA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25955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3A0FDA-9BA1-B642-A070-939618895DCA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20657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3A0FDA-9BA1-B642-A070-939618895DCA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86288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3A0FDA-9BA1-B642-A070-939618895DCA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17208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3A0FDA-9BA1-B642-A070-939618895DCA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65752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3066" y="525780"/>
            <a:ext cx="7721918" cy="2804160"/>
          </a:xfrm>
          <a:prstGeom prst="rect">
            <a:avLst/>
          </a:prstGeom>
        </p:spPr>
        <p:txBody>
          <a:bodyPr anchor="t" anchorCtr="0"/>
          <a:lstStyle>
            <a:lvl1pPr>
              <a:defRPr sz="6134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1AB164B-0894-B142-A83D-CC15DEBBD684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40000"/>
          </a:blip>
          <a:stretch>
            <a:fillRect/>
          </a:stretch>
        </p:blipFill>
        <p:spPr>
          <a:xfrm>
            <a:off x="8670369" y="4314734"/>
            <a:ext cx="438712" cy="69700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FCAA1506-7899-5843-A44E-BB8E80613307}"/>
              </a:ext>
            </a:extLst>
          </p:cNvPr>
          <p:cNvSpPr/>
          <p:nvPr/>
        </p:nvSpPr>
        <p:spPr>
          <a:xfrm>
            <a:off x="1" y="0"/>
            <a:ext cx="83570" cy="52578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3747514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797" y="3738870"/>
            <a:ext cx="7347118" cy="434499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l">
              <a:defRPr sz="1380" b="0" spc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08797" y="584200"/>
            <a:ext cx="7347118" cy="2791177"/>
          </a:xfrm>
          <a:prstGeom prst="roundRect">
            <a:avLst>
              <a:gd name="adj" fmla="val 1858"/>
            </a:avLst>
          </a:prstGeom>
          <a:solidFill>
            <a:schemeClr val="tx2">
              <a:alpha val="25000"/>
            </a:schemeClr>
          </a:solidFill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920"/>
            </a:lvl1pPr>
            <a:lvl2pPr marL="262901" indent="0">
              <a:buNone/>
              <a:defRPr sz="920"/>
            </a:lvl2pPr>
            <a:lvl3pPr marL="525803" indent="0">
              <a:buNone/>
              <a:defRPr sz="920"/>
            </a:lvl3pPr>
            <a:lvl4pPr marL="788704" indent="0">
              <a:buNone/>
              <a:defRPr sz="920"/>
            </a:lvl4pPr>
            <a:lvl5pPr marL="1051606" indent="0">
              <a:buNone/>
              <a:defRPr sz="920"/>
            </a:lvl5pPr>
            <a:lvl6pPr marL="1314507" indent="0">
              <a:buNone/>
              <a:defRPr sz="920"/>
            </a:lvl6pPr>
            <a:lvl7pPr marL="1577409" indent="0">
              <a:buNone/>
              <a:defRPr sz="920"/>
            </a:lvl7pPr>
            <a:lvl8pPr marL="1840310" indent="0">
              <a:buNone/>
              <a:defRPr sz="920"/>
            </a:lvl8pPr>
            <a:lvl9pPr marL="2103211" indent="0">
              <a:buNone/>
              <a:defRPr sz="92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8798" y="4173369"/>
            <a:ext cx="7347117" cy="378513"/>
          </a:xfrm>
        </p:spPr>
        <p:txBody>
          <a:bodyPr>
            <a:normAutofit/>
          </a:bodyPr>
          <a:lstStyle>
            <a:lvl1pPr marL="0" indent="0">
              <a:buNone/>
              <a:defRPr sz="92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62901" indent="0">
              <a:buNone/>
              <a:defRPr sz="690"/>
            </a:lvl2pPr>
            <a:lvl3pPr marL="525803" indent="0">
              <a:buNone/>
              <a:defRPr sz="575"/>
            </a:lvl3pPr>
            <a:lvl4pPr marL="788704" indent="0">
              <a:buNone/>
              <a:defRPr sz="518"/>
            </a:lvl4pPr>
            <a:lvl5pPr marL="1051606" indent="0">
              <a:buNone/>
              <a:defRPr sz="518"/>
            </a:lvl5pPr>
            <a:lvl6pPr marL="1314507" indent="0">
              <a:buNone/>
              <a:defRPr sz="518"/>
            </a:lvl6pPr>
            <a:lvl7pPr marL="1577409" indent="0">
              <a:buNone/>
              <a:defRPr sz="518"/>
            </a:lvl7pPr>
            <a:lvl8pPr marL="1840310" indent="0">
              <a:buNone/>
              <a:defRPr sz="518"/>
            </a:lvl8pPr>
            <a:lvl9pPr marL="2103211" indent="0">
              <a:buNone/>
              <a:defRPr sz="518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346D643-3D40-A544-BA11-C5702B803186}"/>
              </a:ext>
            </a:extLst>
          </p:cNvPr>
          <p:cNvCxnSpPr>
            <a:cxnSpLocks/>
          </p:cNvCxnSpPr>
          <p:nvPr/>
        </p:nvCxnSpPr>
        <p:spPr>
          <a:xfrm>
            <a:off x="608797" y="3692426"/>
            <a:ext cx="7347118" cy="0"/>
          </a:xfrm>
          <a:prstGeom prst="line">
            <a:avLst/>
          </a:prstGeom>
          <a:ln w="19050" cap="sq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02961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7848" y="684349"/>
            <a:ext cx="5926723" cy="2519363"/>
          </a:xfrm>
          <a:prstGeom prst="rect">
            <a:avLst/>
          </a:prstGeom>
        </p:spPr>
        <p:txBody>
          <a:bodyPr/>
          <a:lstStyle>
            <a:lvl1pPr>
              <a:defRPr sz="2760" spc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4" hasCustomPrompt="1"/>
          </p:nvPr>
        </p:nvSpPr>
        <p:spPr>
          <a:xfrm>
            <a:off x="989786" y="3374800"/>
            <a:ext cx="5588647" cy="382373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US" sz="1035" b="0" i="0" kern="1200" cap="small" dirty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262901" indent="0">
              <a:buNone/>
              <a:defRPr sz="690"/>
            </a:lvl2pPr>
            <a:lvl3pPr marL="525803" indent="0">
              <a:buNone/>
              <a:defRPr sz="575"/>
            </a:lvl3pPr>
            <a:lvl4pPr marL="788704" indent="0">
              <a:buNone/>
              <a:defRPr sz="518"/>
            </a:lvl4pPr>
            <a:lvl5pPr marL="1051606" indent="0">
              <a:buNone/>
              <a:defRPr sz="518"/>
            </a:lvl5pPr>
            <a:lvl6pPr marL="1314507" indent="0">
              <a:buNone/>
              <a:defRPr sz="518"/>
            </a:lvl6pPr>
            <a:lvl7pPr marL="1577409" indent="0">
              <a:buNone/>
              <a:defRPr sz="518"/>
            </a:lvl7pPr>
            <a:lvl8pPr marL="1840310" indent="0">
              <a:buNone/>
              <a:defRPr sz="518"/>
            </a:lvl8pPr>
            <a:lvl9pPr marL="2103211" indent="0">
              <a:buNone/>
              <a:defRPr sz="518"/>
            </a:lvl9pPr>
          </a:lstStyle>
          <a:p>
            <a:pPr marL="0" lvl="0" indent="0">
              <a:buNone/>
            </a:pPr>
            <a:r>
              <a:rPr lang="en-US" dirty="0"/>
              <a:t>- QUOTE AUTHOR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15651" y="318997"/>
            <a:ext cx="615635" cy="11718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sz="7015" dirty="0"/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891491" y="2630918"/>
            <a:ext cx="615635" cy="11718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sz="7015" dirty="0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1981345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S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3281" y="946405"/>
            <a:ext cx="5926723" cy="634831"/>
          </a:xfrm>
          <a:prstGeom prst="rect">
            <a:avLst/>
          </a:prstGeom>
        </p:spPr>
        <p:txBody>
          <a:bodyPr/>
          <a:lstStyle>
            <a:lvl1pPr>
              <a:defRPr sz="2760"/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C302B9C-2E99-DD43-B6BC-73FCC0BAA51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3281" y="1835118"/>
            <a:ext cx="5926723" cy="1810290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7F177E7E-7C5D-534C-BCB5-67E15CA69734}"/>
              </a:ext>
            </a:extLst>
          </p:cNvPr>
          <p:cNvSpPr/>
          <p:nvPr/>
        </p:nvSpPr>
        <p:spPr>
          <a:xfrm>
            <a:off x="533282" y="3808984"/>
            <a:ext cx="3586746" cy="49851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990" dirty="0"/>
              <a:t>CALL OUT or CALL TO ACTION can go here</a:t>
            </a:r>
          </a:p>
        </p:txBody>
      </p:sp>
    </p:spTree>
    <p:extLst>
      <p:ext uri="{BB962C8B-B14F-4D97-AF65-F5344CB8AC3E}">
        <p14:creationId xmlns:p14="http://schemas.microsoft.com/office/powerpoint/2010/main" val="7464522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576" y="2271077"/>
            <a:ext cx="2262334" cy="441801"/>
          </a:xfrm>
        </p:spPr>
        <p:txBody>
          <a:bodyPr anchor="b">
            <a:noAutofit/>
          </a:bodyPr>
          <a:lstStyle>
            <a:lvl1pPr marL="0" indent="0">
              <a:buNone/>
              <a:defRPr sz="138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62901" indent="0">
              <a:buNone/>
              <a:defRPr sz="1150" b="1"/>
            </a:lvl2pPr>
            <a:lvl3pPr marL="525803" indent="0">
              <a:buNone/>
              <a:defRPr sz="1035" b="1"/>
            </a:lvl3pPr>
            <a:lvl4pPr marL="788704" indent="0">
              <a:buNone/>
              <a:defRPr sz="920" b="1"/>
            </a:lvl4pPr>
            <a:lvl5pPr marL="1051606" indent="0">
              <a:buNone/>
              <a:defRPr sz="920" b="1"/>
            </a:lvl5pPr>
            <a:lvl6pPr marL="1314507" indent="0">
              <a:buNone/>
              <a:defRPr sz="920" b="1"/>
            </a:lvl6pPr>
            <a:lvl7pPr marL="1577409" indent="0">
              <a:buNone/>
              <a:defRPr sz="920" b="1"/>
            </a:lvl7pPr>
            <a:lvl8pPr marL="1840310" indent="0">
              <a:buNone/>
              <a:defRPr sz="920" b="1"/>
            </a:lvl8pPr>
            <a:lvl9pPr marL="2103211" indent="0">
              <a:buNone/>
              <a:defRPr sz="92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495558" y="2796858"/>
            <a:ext cx="2247352" cy="1825625"/>
          </a:xfrm>
        </p:spPr>
        <p:txBody>
          <a:bodyPr anchor="t">
            <a:normAutofit/>
          </a:bodyPr>
          <a:lstStyle>
            <a:lvl1pPr marL="0" indent="0">
              <a:buNone/>
              <a:defRPr sz="805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62901" indent="0">
              <a:buNone/>
              <a:defRPr sz="690"/>
            </a:lvl2pPr>
            <a:lvl3pPr marL="525803" indent="0">
              <a:buNone/>
              <a:defRPr sz="575"/>
            </a:lvl3pPr>
            <a:lvl4pPr marL="788704" indent="0">
              <a:buNone/>
              <a:defRPr sz="518"/>
            </a:lvl4pPr>
            <a:lvl5pPr marL="1051606" indent="0">
              <a:buNone/>
              <a:defRPr sz="518"/>
            </a:lvl5pPr>
            <a:lvl6pPr marL="1314507" indent="0">
              <a:buNone/>
              <a:defRPr sz="518"/>
            </a:lvl6pPr>
            <a:lvl7pPr marL="1577409" indent="0">
              <a:buNone/>
              <a:defRPr sz="518"/>
            </a:lvl7pPr>
            <a:lvl8pPr marL="1840310" indent="0">
              <a:buNone/>
              <a:defRPr sz="518"/>
            </a:lvl8pPr>
            <a:lvl9pPr marL="2103211" indent="0">
              <a:buNone/>
              <a:defRPr sz="518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2976176" y="2271077"/>
            <a:ext cx="2254177" cy="441801"/>
          </a:xfrm>
        </p:spPr>
        <p:txBody>
          <a:bodyPr anchor="b">
            <a:noAutofit/>
          </a:bodyPr>
          <a:lstStyle>
            <a:lvl1pPr marL="0" indent="0">
              <a:buNone/>
              <a:defRPr sz="138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62901" indent="0">
              <a:buNone/>
              <a:defRPr sz="1150" b="1"/>
            </a:lvl2pPr>
            <a:lvl3pPr marL="525803" indent="0">
              <a:buNone/>
              <a:defRPr sz="1035" b="1"/>
            </a:lvl3pPr>
            <a:lvl4pPr marL="788704" indent="0">
              <a:buNone/>
              <a:defRPr sz="920" b="1"/>
            </a:lvl4pPr>
            <a:lvl5pPr marL="1051606" indent="0">
              <a:buNone/>
              <a:defRPr sz="920" b="1"/>
            </a:lvl5pPr>
            <a:lvl6pPr marL="1314507" indent="0">
              <a:buNone/>
              <a:defRPr sz="920" b="1"/>
            </a:lvl6pPr>
            <a:lvl7pPr marL="1577409" indent="0">
              <a:buNone/>
              <a:defRPr sz="920" b="1"/>
            </a:lvl7pPr>
            <a:lvl8pPr marL="1840310" indent="0">
              <a:buNone/>
              <a:defRPr sz="920" b="1"/>
            </a:lvl8pPr>
            <a:lvl9pPr marL="2103211" indent="0">
              <a:buNone/>
              <a:defRPr sz="92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2968072" y="2796858"/>
            <a:ext cx="2262279" cy="1825625"/>
          </a:xfrm>
        </p:spPr>
        <p:txBody>
          <a:bodyPr anchor="t">
            <a:normAutofit/>
          </a:bodyPr>
          <a:lstStyle>
            <a:lvl1pPr marL="0" indent="0">
              <a:buNone/>
              <a:defRPr sz="805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62901" indent="0">
              <a:buNone/>
              <a:defRPr sz="690"/>
            </a:lvl2pPr>
            <a:lvl3pPr marL="525803" indent="0">
              <a:buNone/>
              <a:defRPr sz="575"/>
            </a:lvl3pPr>
            <a:lvl4pPr marL="788704" indent="0">
              <a:buNone/>
              <a:defRPr sz="518"/>
            </a:lvl4pPr>
            <a:lvl5pPr marL="1051606" indent="0">
              <a:buNone/>
              <a:defRPr sz="518"/>
            </a:lvl5pPr>
            <a:lvl6pPr marL="1314507" indent="0">
              <a:buNone/>
              <a:defRPr sz="518"/>
            </a:lvl6pPr>
            <a:lvl7pPr marL="1577409" indent="0">
              <a:buNone/>
              <a:defRPr sz="518"/>
            </a:lvl7pPr>
            <a:lvl8pPr marL="1840310" indent="0">
              <a:buNone/>
              <a:defRPr sz="518"/>
            </a:lvl8pPr>
            <a:lvl9pPr marL="2103211" indent="0">
              <a:buNone/>
              <a:defRPr sz="518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464349" y="2271077"/>
            <a:ext cx="2251008" cy="441801"/>
          </a:xfrm>
        </p:spPr>
        <p:txBody>
          <a:bodyPr anchor="b">
            <a:noAutofit/>
          </a:bodyPr>
          <a:lstStyle>
            <a:lvl1pPr marL="0" indent="0">
              <a:buNone/>
              <a:defRPr sz="138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62901" indent="0">
              <a:buNone/>
              <a:defRPr sz="1150" b="1"/>
            </a:lvl2pPr>
            <a:lvl3pPr marL="525803" indent="0">
              <a:buNone/>
              <a:defRPr sz="1035" b="1"/>
            </a:lvl3pPr>
            <a:lvl4pPr marL="788704" indent="0">
              <a:buNone/>
              <a:defRPr sz="920" b="1"/>
            </a:lvl4pPr>
            <a:lvl5pPr marL="1051606" indent="0">
              <a:buNone/>
              <a:defRPr sz="920" b="1"/>
            </a:lvl5pPr>
            <a:lvl6pPr marL="1314507" indent="0">
              <a:buNone/>
              <a:defRPr sz="920" b="1"/>
            </a:lvl6pPr>
            <a:lvl7pPr marL="1577409" indent="0">
              <a:buNone/>
              <a:defRPr sz="920" b="1"/>
            </a:lvl7pPr>
            <a:lvl8pPr marL="1840310" indent="0">
              <a:buNone/>
              <a:defRPr sz="920" b="1"/>
            </a:lvl8pPr>
            <a:lvl9pPr marL="2103211" indent="0">
              <a:buNone/>
              <a:defRPr sz="92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5464349" y="2796858"/>
            <a:ext cx="2251008" cy="1825625"/>
          </a:xfrm>
        </p:spPr>
        <p:txBody>
          <a:bodyPr anchor="t">
            <a:normAutofit/>
          </a:bodyPr>
          <a:lstStyle>
            <a:lvl1pPr marL="0" indent="0">
              <a:buNone/>
              <a:defRPr sz="805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62901" indent="0">
              <a:buNone/>
              <a:defRPr sz="690"/>
            </a:lvl2pPr>
            <a:lvl3pPr marL="525803" indent="0">
              <a:buNone/>
              <a:defRPr sz="575"/>
            </a:lvl3pPr>
            <a:lvl4pPr marL="788704" indent="0">
              <a:buNone/>
              <a:defRPr sz="518"/>
            </a:lvl4pPr>
            <a:lvl5pPr marL="1051606" indent="0">
              <a:buNone/>
              <a:defRPr sz="518"/>
            </a:lvl5pPr>
            <a:lvl6pPr marL="1314507" indent="0">
              <a:buNone/>
              <a:defRPr sz="518"/>
            </a:lvl6pPr>
            <a:lvl7pPr marL="1577409" indent="0">
              <a:buNone/>
              <a:defRPr sz="518"/>
            </a:lvl7pPr>
            <a:lvl8pPr marL="1840310" indent="0">
              <a:buNone/>
              <a:defRPr sz="518"/>
            </a:lvl8pPr>
            <a:lvl9pPr marL="2103211" indent="0">
              <a:buNone/>
              <a:defRPr sz="518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7" name="Straight Connector 16"/>
          <p:cNvCxnSpPr>
            <a:cxnSpLocks/>
          </p:cNvCxnSpPr>
          <p:nvPr/>
        </p:nvCxnSpPr>
        <p:spPr>
          <a:xfrm>
            <a:off x="2855248" y="2387918"/>
            <a:ext cx="0" cy="2234565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>
            <a:cxnSpLocks/>
          </p:cNvCxnSpPr>
          <p:nvPr/>
        </p:nvCxnSpPr>
        <p:spPr>
          <a:xfrm>
            <a:off x="5339616" y="2387918"/>
            <a:ext cx="0" cy="2234565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851FE1CA-4C16-AD45-BD54-500EEF78C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8590" y="259456"/>
            <a:ext cx="7416766" cy="75559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9525150-06D1-F64E-A049-783F7E29F5F6}"/>
              </a:ext>
            </a:extLst>
          </p:cNvPr>
          <p:cNvSpPr/>
          <p:nvPr/>
        </p:nvSpPr>
        <p:spPr>
          <a:xfrm>
            <a:off x="553701" y="1252380"/>
            <a:ext cx="972552" cy="971233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99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AAE72322-60BD-2643-8938-E19617DB5104}"/>
              </a:ext>
            </a:extLst>
          </p:cNvPr>
          <p:cNvSpPr/>
          <p:nvPr/>
        </p:nvSpPr>
        <p:spPr>
          <a:xfrm>
            <a:off x="3049300" y="1252380"/>
            <a:ext cx="972552" cy="971233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99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90C76404-DA09-8443-9D3C-1696077594EF}"/>
              </a:ext>
            </a:extLst>
          </p:cNvPr>
          <p:cNvSpPr/>
          <p:nvPr/>
        </p:nvSpPr>
        <p:spPr>
          <a:xfrm>
            <a:off x="5537475" y="1252380"/>
            <a:ext cx="972552" cy="971233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990"/>
          </a:p>
        </p:txBody>
      </p:sp>
    </p:spTree>
    <p:extLst>
      <p:ext uri="{BB962C8B-B14F-4D97-AF65-F5344CB8AC3E}">
        <p14:creationId xmlns:p14="http://schemas.microsoft.com/office/powerpoint/2010/main" val="28518980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0901" y="2791701"/>
            <a:ext cx="2257102" cy="441801"/>
          </a:xfrm>
        </p:spPr>
        <p:txBody>
          <a:bodyPr anchor="b">
            <a:noAutofit/>
          </a:bodyPr>
          <a:lstStyle>
            <a:lvl1pPr marL="0" indent="0">
              <a:buNone/>
              <a:defRPr sz="138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62901" indent="0">
              <a:buNone/>
              <a:defRPr sz="1150" b="1"/>
            </a:lvl2pPr>
            <a:lvl3pPr marL="525803" indent="0">
              <a:buNone/>
              <a:defRPr sz="1035" b="1"/>
            </a:lvl3pPr>
            <a:lvl4pPr marL="788704" indent="0">
              <a:buNone/>
              <a:defRPr sz="920" b="1"/>
            </a:lvl4pPr>
            <a:lvl5pPr marL="1051606" indent="0">
              <a:buNone/>
              <a:defRPr sz="920" b="1"/>
            </a:lvl5pPr>
            <a:lvl6pPr marL="1314507" indent="0">
              <a:buNone/>
              <a:defRPr sz="920" b="1"/>
            </a:lvl6pPr>
            <a:lvl7pPr marL="1577409" indent="0">
              <a:buNone/>
              <a:defRPr sz="920" b="1"/>
            </a:lvl7pPr>
            <a:lvl8pPr marL="1840310" indent="0">
              <a:buNone/>
              <a:defRPr sz="920" b="1"/>
            </a:lvl8pPr>
            <a:lvl9pPr marL="2103211" indent="0">
              <a:buNone/>
              <a:defRPr sz="92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500901" y="1394778"/>
            <a:ext cx="2257102" cy="1168400"/>
          </a:xfrm>
          <a:prstGeom prst="roundRect">
            <a:avLst>
              <a:gd name="adj" fmla="val 1858"/>
            </a:avLst>
          </a:prstGeom>
          <a:solidFill>
            <a:schemeClr val="tx1">
              <a:alpha val="25000"/>
            </a:schemeClr>
          </a:solidFill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920"/>
            </a:lvl1pPr>
            <a:lvl2pPr marL="262901" indent="0">
              <a:buNone/>
              <a:defRPr sz="920"/>
            </a:lvl2pPr>
            <a:lvl3pPr marL="525803" indent="0">
              <a:buNone/>
              <a:defRPr sz="920"/>
            </a:lvl3pPr>
            <a:lvl4pPr marL="788704" indent="0">
              <a:buNone/>
              <a:defRPr sz="920"/>
            </a:lvl4pPr>
            <a:lvl5pPr marL="1051606" indent="0">
              <a:buNone/>
              <a:defRPr sz="920"/>
            </a:lvl5pPr>
            <a:lvl6pPr marL="1314507" indent="0">
              <a:buNone/>
              <a:defRPr sz="920"/>
            </a:lvl6pPr>
            <a:lvl7pPr marL="1577409" indent="0">
              <a:buNone/>
              <a:defRPr sz="920"/>
            </a:lvl7pPr>
            <a:lvl8pPr marL="1840310" indent="0">
              <a:buNone/>
              <a:defRPr sz="920"/>
            </a:lvl8pPr>
            <a:lvl9pPr marL="2103211" indent="0">
              <a:buNone/>
              <a:defRPr sz="92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500901" y="3233503"/>
            <a:ext cx="2257102" cy="1140697"/>
          </a:xfrm>
        </p:spPr>
        <p:txBody>
          <a:bodyPr anchor="t">
            <a:normAutofit/>
          </a:bodyPr>
          <a:lstStyle>
            <a:lvl1pPr marL="0" indent="0">
              <a:buNone/>
              <a:defRPr sz="805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62901" indent="0">
              <a:buNone/>
              <a:defRPr sz="690"/>
            </a:lvl2pPr>
            <a:lvl3pPr marL="525803" indent="0">
              <a:buNone/>
              <a:defRPr sz="575"/>
            </a:lvl3pPr>
            <a:lvl4pPr marL="788704" indent="0">
              <a:buNone/>
              <a:defRPr sz="518"/>
            </a:lvl4pPr>
            <a:lvl5pPr marL="1051606" indent="0">
              <a:buNone/>
              <a:defRPr sz="518"/>
            </a:lvl5pPr>
            <a:lvl6pPr marL="1314507" indent="0">
              <a:buNone/>
              <a:defRPr sz="518"/>
            </a:lvl6pPr>
            <a:lvl7pPr marL="1577409" indent="0">
              <a:buNone/>
              <a:defRPr sz="518"/>
            </a:lvl7pPr>
            <a:lvl8pPr marL="1840310" indent="0">
              <a:buNone/>
              <a:defRPr sz="518"/>
            </a:lvl8pPr>
            <a:lvl9pPr marL="2103211" indent="0">
              <a:buNone/>
              <a:defRPr sz="518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2985907" y="2791701"/>
            <a:ext cx="2249788" cy="441801"/>
          </a:xfrm>
        </p:spPr>
        <p:txBody>
          <a:bodyPr anchor="b">
            <a:noAutofit/>
          </a:bodyPr>
          <a:lstStyle>
            <a:lvl1pPr marL="0" indent="0">
              <a:buNone/>
              <a:defRPr sz="138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62901" indent="0">
              <a:buNone/>
              <a:defRPr sz="1150" b="1"/>
            </a:lvl2pPr>
            <a:lvl3pPr marL="525803" indent="0">
              <a:buNone/>
              <a:defRPr sz="1035" b="1"/>
            </a:lvl3pPr>
            <a:lvl4pPr marL="788704" indent="0">
              <a:buNone/>
              <a:defRPr sz="920" b="1"/>
            </a:lvl4pPr>
            <a:lvl5pPr marL="1051606" indent="0">
              <a:buNone/>
              <a:defRPr sz="920" b="1"/>
            </a:lvl5pPr>
            <a:lvl6pPr marL="1314507" indent="0">
              <a:buNone/>
              <a:defRPr sz="920" b="1"/>
            </a:lvl6pPr>
            <a:lvl7pPr marL="1577409" indent="0">
              <a:buNone/>
              <a:defRPr sz="920" b="1"/>
            </a:lvl7pPr>
            <a:lvl8pPr marL="1840310" indent="0">
              <a:buNone/>
              <a:defRPr sz="920" b="1"/>
            </a:lvl8pPr>
            <a:lvl9pPr marL="2103211" indent="0">
              <a:buNone/>
              <a:defRPr sz="92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2985906" y="1394778"/>
            <a:ext cx="2249788" cy="1168400"/>
          </a:xfrm>
          <a:prstGeom prst="roundRect">
            <a:avLst>
              <a:gd name="adj" fmla="val 1858"/>
            </a:avLst>
          </a:prstGeom>
          <a:solidFill>
            <a:schemeClr val="tx1">
              <a:alpha val="25000"/>
            </a:schemeClr>
          </a:solidFill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920"/>
            </a:lvl1pPr>
            <a:lvl2pPr marL="262901" indent="0">
              <a:buNone/>
              <a:defRPr sz="920"/>
            </a:lvl2pPr>
            <a:lvl3pPr marL="525803" indent="0">
              <a:buNone/>
              <a:defRPr sz="920"/>
            </a:lvl3pPr>
            <a:lvl4pPr marL="788704" indent="0">
              <a:buNone/>
              <a:defRPr sz="920"/>
            </a:lvl4pPr>
            <a:lvl5pPr marL="1051606" indent="0">
              <a:buNone/>
              <a:defRPr sz="920"/>
            </a:lvl5pPr>
            <a:lvl6pPr marL="1314507" indent="0">
              <a:buNone/>
              <a:defRPr sz="920"/>
            </a:lvl6pPr>
            <a:lvl7pPr marL="1577409" indent="0">
              <a:buNone/>
              <a:defRPr sz="920"/>
            </a:lvl7pPr>
            <a:lvl8pPr marL="1840310" indent="0">
              <a:buNone/>
              <a:defRPr sz="920"/>
            </a:lvl8pPr>
            <a:lvl9pPr marL="2103211" indent="0">
              <a:buNone/>
              <a:defRPr sz="92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2984867" y="3233503"/>
            <a:ext cx="2252769" cy="1140697"/>
          </a:xfrm>
        </p:spPr>
        <p:txBody>
          <a:bodyPr anchor="t">
            <a:normAutofit/>
          </a:bodyPr>
          <a:lstStyle>
            <a:lvl1pPr marL="0" indent="0">
              <a:buNone/>
              <a:defRPr sz="805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62901" indent="0">
              <a:buNone/>
              <a:defRPr sz="690"/>
            </a:lvl2pPr>
            <a:lvl3pPr marL="525803" indent="0">
              <a:buNone/>
              <a:defRPr sz="575"/>
            </a:lvl3pPr>
            <a:lvl4pPr marL="788704" indent="0">
              <a:buNone/>
              <a:defRPr sz="518"/>
            </a:lvl4pPr>
            <a:lvl5pPr marL="1051606" indent="0">
              <a:buNone/>
              <a:defRPr sz="518"/>
            </a:lvl5pPr>
            <a:lvl6pPr marL="1314507" indent="0">
              <a:buNone/>
              <a:defRPr sz="518"/>
            </a:lvl6pPr>
            <a:lvl7pPr marL="1577409" indent="0">
              <a:buNone/>
              <a:defRPr sz="518"/>
            </a:lvl7pPr>
            <a:lvl8pPr marL="1840310" indent="0">
              <a:buNone/>
              <a:defRPr sz="518"/>
            </a:lvl8pPr>
            <a:lvl9pPr marL="2103211" indent="0">
              <a:buNone/>
              <a:defRPr sz="518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469693" y="2791701"/>
            <a:ext cx="2251008" cy="441801"/>
          </a:xfrm>
        </p:spPr>
        <p:txBody>
          <a:bodyPr anchor="b">
            <a:noAutofit/>
          </a:bodyPr>
          <a:lstStyle>
            <a:lvl1pPr marL="0" indent="0">
              <a:buNone/>
              <a:defRPr sz="138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62901" indent="0">
              <a:buNone/>
              <a:defRPr sz="1150" b="1"/>
            </a:lvl2pPr>
            <a:lvl3pPr marL="525803" indent="0">
              <a:buNone/>
              <a:defRPr sz="1035" b="1"/>
            </a:lvl3pPr>
            <a:lvl4pPr marL="788704" indent="0">
              <a:buNone/>
              <a:defRPr sz="920" b="1"/>
            </a:lvl4pPr>
            <a:lvl5pPr marL="1051606" indent="0">
              <a:buNone/>
              <a:defRPr sz="920" b="1"/>
            </a:lvl5pPr>
            <a:lvl6pPr marL="1314507" indent="0">
              <a:buNone/>
              <a:defRPr sz="920" b="1"/>
            </a:lvl6pPr>
            <a:lvl7pPr marL="1577409" indent="0">
              <a:buNone/>
              <a:defRPr sz="920" b="1"/>
            </a:lvl7pPr>
            <a:lvl8pPr marL="1840310" indent="0">
              <a:buNone/>
              <a:defRPr sz="920" b="1"/>
            </a:lvl8pPr>
            <a:lvl9pPr marL="2103211" indent="0">
              <a:buNone/>
              <a:defRPr sz="92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5469693" y="1394778"/>
            <a:ext cx="2251008" cy="1168400"/>
          </a:xfrm>
          <a:prstGeom prst="roundRect">
            <a:avLst>
              <a:gd name="adj" fmla="val 1858"/>
            </a:avLst>
          </a:prstGeom>
          <a:solidFill>
            <a:schemeClr val="tx1">
              <a:alpha val="25000"/>
            </a:schemeClr>
          </a:solidFill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920"/>
            </a:lvl1pPr>
            <a:lvl2pPr marL="262901" indent="0">
              <a:buNone/>
              <a:defRPr sz="920"/>
            </a:lvl2pPr>
            <a:lvl3pPr marL="525803" indent="0">
              <a:buNone/>
              <a:defRPr sz="920"/>
            </a:lvl3pPr>
            <a:lvl4pPr marL="788704" indent="0">
              <a:buNone/>
              <a:defRPr sz="920"/>
            </a:lvl4pPr>
            <a:lvl5pPr marL="1051606" indent="0">
              <a:buNone/>
              <a:defRPr sz="920"/>
            </a:lvl5pPr>
            <a:lvl6pPr marL="1314507" indent="0">
              <a:buNone/>
              <a:defRPr sz="920"/>
            </a:lvl6pPr>
            <a:lvl7pPr marL="1577409" indent="0">
              <a:buNone/>
              <a:defRPr sz="920"/>
            </a:lvl7pPr>
            <a:lvl8pPr marL="1840310" indent="0">
              <a:buNone/>
              <a:defRPr sz="920"/>
            </a:lvl8pPr>
            <a:lvl9pPr marL="2103211" indent="0">
              <a:buNone/>
              <a:defRPr sz="92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5469597" y="3233501"/>
            <a:ext cx="2253989" cy="1140697"/>
          </a:xfrm>
        </p:spPr>
        <p:txBody>
          <a:bodyPr anchor="t">
            <a:normAutofit/>
          </a:bodyPr>
          <a:lstStyle>
            <a:lvl1pPr marL="0" indent="0">
              <a:buNone/>
              <a:defRPr sz="805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62901" indent="0">
              <a:buNone/>
              <a:defRPr sz="690"/>
            </a:lvl2pPr>
            <a:lvl3pPr marL="525803" indent="0">
              <a:buNone/>
              <a:defRPr sz="575"/>
            </a:lvl3pPr>
            <a:lvl4pPr marL="788704" indent="0">
              <a:buNone/>
              <a:defRPr sz="518"/>
            </a:lvl4pPr>
            <a:lvl5pPr marL="1051606" indent="0">
              <a:buNone/>
              <a:defRPr sz="518"/>
            </a:lvl5pPr>
            <a:lvl6pPr marL="1314507" indent="0">
              <a:buNone/>
              <a:defRPr sz="518"/>
            </a:lvl6pPr>
            <a:lvl7pPr marL="1577409" indent="0">
              <a:buNone/>
              <a:defRPr sz="518"/>
            </a:lvl7pPr>
            <a:lvl8pPr marL="1840310" indent="0">
              <a:buNone/>
              <a:defRPr sz="518"/>
            </a:lvl8pPr>
            <a:lvl9pPr marL="2103211" indent="0">
              <a:buNone/>
              <a:defRPr sz="518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2860591" y="1336358"/>
            <a:ext cx="0" cy="303784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5344960" y="1336358"/>
            <a:ext cx="0" cy="3041276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itle 1">
            <a:extLst>
              <a:ext uri="{FF2B5EF4-FFF2-40B4-BE49-F238E27FC236}">
                <a16:creationId xmlns:a16="http://schemas.microsoft.com/office/drawing/2014/main" id="{F638FCE4-00A7-BB4E-98EC-AB681132F6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8590" y="259456"/>
            <a:ext cx="7416766" cy="75559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5979249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71322" y="1983370"/>
            <a:ext cx="6775532" cy="1291061"/>
          </a:xfrm>
          <a:prstGeom prst="rect">
            <a:avLst/>
          </a:prstGeom>
        </p:spPr>
        <p:txBody>
          <a:bodyPr anchor="t" anchorCtr="0"/>
          <a:lstStyle>
            <a:lvl1pPr algn="ctr">
              <a:defRPr sz="552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!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7AB3F4A-6E4A-9441-A32E-6DB59118411A}"/>
              </a:ext>
            </a:extLst>
          </p:cNvPr>
          <p:cNvCxnSpPr>
            <a:cxnSpLocks/>
          </p:cNvCxnSpPr>
          <p:nvPr/>
        </p:nvCxnSpPr>
        <p:spPr>
          <a:xfrm>
            <a:off x="4179302" y="3502639"/>
            <a:ext cx="959572" cy="0"/>
          </a:xfrm>
          <a:prstGeom prst="line">
            <a:avLst/>
          </a:prstGeom>
          <a:ln w="50800" cap="sq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A7502509-4FE6-E24C-AA96-C740FC421C24}"/>
              </a:ext>
            </a:extLst>
          </p:cNvPr>
          <p:cNvSpPr/>
          <p:nvPr/>
        </p:nvSpPr>
        <p:spPr>
          <a:xfrm>
            <a:off x="4404942" y="0"/>
            <a:ext cx="526494" cy="8763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299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7B1010D-DEFC-A24B-9C13-2017C9E202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08381" y="368115"/>
            <a:ext cx="319618" cy="403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95642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Text"/>
          <p:cNvSpPr txBox="1">
            <a:spLocks noGrp="1"/>
          </p:cNvSpPr>
          <p:nvPr>
            <p:ph type="title"/>
          </p:nvPr>
        </p:nvSpPr>
        <p:spPr>
          <a:xfrm>
            <a:off x="916492" y="881168"/>
            <a:ext cx="7531795" cy="1781810"/>
          </a:xfrm>
          <a:prstGeom prst="rect">
            <a:avLst/>
          </a:prstGeom>
        </p:spPr>
        <p:txBody>
          <a:bodyPr anchor="b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916492" y="2711662"/>
            <a:ext cx="7531795" cy="608542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1265"/>
            </a:lvl1pPr>
            <a:lvl2pPr marL="0" indent="0" algn="ctr">
              <a:spcBef>
                <a:spcPts val="0"/>
              </a:spcBef>
              <a:buSzTx/>
              <a:buNone/>
              <a:defRPr sz="1265"/>
            </a:lvl2pPr>
            <a:lvl3pPr marL="0" indent="0" algn="ctr">
              <a:spcBef>
                <a:spcPts val="0"/>
              </a:spcBef>
              <a:buSzTx/>
              <a:buNone/>
              <a:defRPr sz="1265"/>
            </a:lvl3pPr>
            <a:lvl4pPr marL="0" indent="0" algn="ctr">
              <a:spcBef>
                <a:spcPts val="0"/>
              </a:spcBef>
              <a:buSzTx/>
              <a:buNone/>
              <a:defRPr sz="1265"/>
            </a:lvl4pPr>
            <a:lvl5pPr marL="0" indent="0" algn="ctr">
              <a:spcBef>
                <a:spcPts val="0"/>
              </a:spcBef>
              <a:buSzTx/>
              <a:buNone/>
              <a:defRPr sz="1265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4589075" y="4985174"/>
            <a:ext cx="173977" cy="180128"/>
          </a:xfrm>
          <a:prstGeom prst="rect">
            <a:avLst/>
          </a:prstGeom>
        </p:spPr>
        <p:txBody>
          <a:bodyPr anchor="t"/>
          <a:lstStyle/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5502755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/>
          </p:nvPr>
        </p:nvSpPr>
        <p:spPr>
          <a:xfrm>
            <a:off x="916492" y="3432175"/>
            <a:ext cx="7531795" cy="260521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1093" b="1"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/>
          </p:nvPr>
        </p:nvSpPr>
        <p:spPr>
          <a:xfrm>
            <a:off x="916492" y="2302722"/>
            <a:ext cx="7531795" cy="340093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spcBef>
                <a:spcPts val="978"/>
              </a:spcBef>
              <a:buSzTx/>
              <a:buNone/>
              <a:defRPr sz="161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4589075" y="4985174"/>
            <a:ext cx="173977" cy="180128"/>
          </a:xfrm>
          <a:prstGeom prst="rect">
            <a:avLst/>
          </a:prstGeom>
        </p:spPr>
        <p:txBody>
          <a:bodyPr anchor="t"/>
          <a:lstStyle/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2644568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7" name="Body Level On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4589075" y="4985174"/>
            <a:ext cx="173977" cy="180128"/>
          </a:xfrm>
          <a:prstGeom prst="rect">
            <a:avLst/>
          </a:prstGeom>
        </p:spPr>
        <p:txBody>
          <a:bodyPr anchor="t"/>
          <a:lstStyle/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4908487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Text"/>
          <p:cNvSpPr txBox="1">
            <a:spLocks noGrp="1"/>
          </p:cNvSpPr>
          <p:nvPr>
            <p:ph type="title"/>
          </p:nvPr>
        </p:nvSpPr>
        <p:spPr>
          <a:xfrm>
            <a:off x="916492" y="1737995"/>
            <a:ext cx="7531795" cy="178181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4589075" y="4985174"/>
            <a:ext cx="173977" cy="180128"/>
          </a:xfrm>
          <a:prstGeom prst="rect">
            <a:avLst/>
          </a:prstGeom>
        </p:spPr>
        <p:txBody>
          <a:bodyPr anchor="t"/>
          <a:lstStyle/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2618419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71322" y="1562619"/>
            <a:ext cx="6775532" cy="2008320"/>
          </a:xfrm>
          <a:prstGeom prst="rect">
            <a:avLst/>
          </a:prstGeom>
        </p:spPr>
        <p:txBody>
          <a:bodyPr anchor="t" anchorCtr="0"/>
          <a:lstStyle>
            <a:lvl1pPr algn="ctr">
              <a:defRPr sz="414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71322" y="3880690"/>
            <a:ext cx="6775532" cy="495566"/>
          </a:xfrm>
        </p:spPr>
        <p:txBody>
          <a:bodyPr anchor="t"/>
          <a:lstStyle>
            <a:lvl1pPr marL="0" indent="0" algn="ctr">
              <a:buNone/>
              <a:defRPr cap="none" baseline="0">
                <a:solidFill>
                  <a:schemeClr val="bg1"/>
                </a:solidFill>
              </a:defRPr>
            </a:lvl1pPr>
            <a:lvl2pPr marL="2629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258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788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51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3145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5774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840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103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7AB3F4A-6E4A-9441-A32E-6DB59118411A}"/>
              </a:ext>
            </a:extLst>
          </p:cNvPr>
          <p:cNvCxnSpPr>
            <a:cxnSpLocks/>
          </p:cNvCxnSpPr>
          <p:nvPr/>
        </p:nvCxnSpPr>
        <p:spPr>
          <a:xfrm>
            <a:off x="4179302" y="3598339"/>
            <a:ext cx="959572" cy="0"/>
          </a:xfrm>
          <a:prstGeom prst="line">
            <a:avLst/>
          </a:prstGeom>
          <a:ln w="50800" cap="sq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9FBE9B87-5D1F-E94B-B539-EC11664BD536}"/>
              </a:ext>
            </a:extLst>
          </p:cNvPr>
          <p:cNvSpPr/>
          <p:nvPr/>
        </p:nvSpPr>
        <p:spPr>
          <a:xfrm>
            <a:off x="4404942" y="0"/>
            <a:ext cx="526494" cy="8763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299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5CA907F-9252-0B49-807C-E526EE6949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08381" y="368115"/>
            <a:ext cx="319618" cy="403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59482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67995" y="1209294"/>
            <a:ext cx="4071557" cy="347014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820347" y="1209294"/>
            <a:ext cx="4071557" cy="347014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/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11/20/18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46673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701993" y="1629919"/>
            <a:ext cx="7955915" cy="110413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403986" y="2944368"/>
            <a:ext cx="6551929" cy="131445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/>
          <a:p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11/20/18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23161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8590" y="259456"/>
            <a:ext cx="7416766" cy="755594"/>
          </a:xfrm>
          <a:prstGeom prst="rect">
            <a:avLst/>
          </a:prstGeom>
        </p:spPr>
        <p:txBody>
          <a:bodyPr/>
          <a:lstStyle>
            <a:lvl1pPr>
              <a:defRPr spc="173"/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90" y="1219520"/>
            <a:ext cx="7416766" cy="321653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18321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98590" y="1229256"/>
            <a:ext cx="3375106" cy="3216752"/>
          </a:xfrm>
        </p:spPr>
        <p:txBody>
          <a:bodyPr>
            <a:normAutofit/>
          </a:bodyPr>
          <a:lstStyle>
            <a:lvl1pPr>
              <a:defRPr sz="1035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92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805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69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69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690"/>
            </a:lvl6pPr>
            <a:lvl7pPr>
              <a:defRPr sz="690"/>
            </a:lvl7pPr>
            <a:lvl8pPr>
              <a:defRPr sz="690"/>
            </a:lvl8pPr>
            <a:lvl9pPr>
              <a:defRPr sz="69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92569" y="1225819"/>
            <a:ext cx="3375108" cy="3220188"/>
          </a:xfrm>
        </p:spPr>
        <p:txBody>
          <a:bodyPr>
            <a:normAutofit/>
          </a:bodyPr>
          <a:lstStyle>
            <a:lvl1pPr>
              <a:defRPr sz="1035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92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805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69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69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690"/>
            </a:lvl6pPr>
            <a:lvl7pPr>
              <a:defRPr sz="690"/>
            </a:lvl7pPr>
            <a:lvl8pPr>
              <a:defRPr sz="690"/>
            </a:lvl8pPr>
            <a:lvl9pPr>
              <a:defRPr sz="69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5FE8E80-A07B-124F-8B4E-82E6530FB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8590" y="259456"/>
            <a:ext cx="7416766" cy="755594"/>
          </a:xfrm>
          <a:prstGeom prst="rect">
            <a:avLst/>
          </a:prstGeom>
        </p:spPr>
        <p:txBody>
          <a:bodyPr/>
          <a:lstStyle>
            <a:lvl1pPr>
              <a:defRPr spc="173"/>
            </a:lvl1pPr>
          </a:lstStyle>
          <a:p>
            <a:r>
              <a:rPr lang="en-US" dirty="0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3757317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98590" y="1220325"/>
            <a:ext cx="3375106" cy="441801"/>
          </a:xfrm>
        </p:spPr>
        <p:txBody>
          <a:bodyPr anchor="b">
            <a:noAutofit/>
          </a:bodyPr>
          <a:lstStyle>
            <a:lvl1pPr marL="0" indent="0">
              <a:buNone/>
              <a:defRPr sz="138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62901" indent="0">
              <a:buNone/>
              <a:defRPr sz="1150" b="1"/>
            </a:lvl2pPr>
            <a:lvl3pPr marL="525803" indent="0">
              <a:buNone/>
              <a:defRPr sz="1035" b="1"/>
            </a:lvl3pPr>
            <a:lvl4pPr marL="788704" indent="0">
              <a:buNone/>
              <a:defRPr sz="920" b="1"/>
            </a:lvl4pPr>
            <a:lvl5pPr marL="1051606" indent="0">
              <a:buNone/>
              <a:defRPr sz="920" b="1"/>
            </a:lvl5pPr>
            <a:lvl6pPr marL="1314507" indent="0">
              <a:buNone/>
              <a:defRPr sz="920" b="1"/>
            </a:lvl6pPr>
            <a:lvl7pPr marL="1577409" indent="0">
              <a:buNone/>
              <a:defRPr sz="920" b="1"/>
            </a:lvl7pPr>
            <a:lvl8pPr marL="1840310" indent="0">
              <a:buNone/>
              <a:defRPr sz="920" b="1"/>
            </a:lvl8pPr>
            <a:lvl9pPr marL="2103211" indent="0">
              <a:buNone/>
              <a:defRPr sz="920" b="1"/>
            </a:lvl9pPr>
          </a:lstStyle>
          <a:p>
            <a:pPr lvl="0"/>
            <a:r>
              <a:rPr lang="en-US" dirty="0"/>
              <a:t>COLUMN 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98590" y="1687685"/>
            <a:ext cx="3375106" cy="2868666"/>
          </a:xfrm>
        </p:spPr>
        <p:txBody>
          <a:bodyPr>
            <a:normAutofit/>
          </a:bodyPr>
          <a:lstStyle>
            <a:lvl1pPr>
              <a:defRPr sz="1035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92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805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69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69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690"/>
            </a:lvl6pPr>
            <a:lvl7pPr>
              <a:defRPr sz="690"/>
            </a:lvl7pPr>
            <a:lvl8pPr>
              <a:defRPr sz="690"/>
            </a:lvl8pPr>
            <a:lvl9pPr>
              <a:defRPr sz="69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3792572" y="1220325"/>
            <a:ext cx="3375106" cy="441801"/>
          </a:xfrm>
        </p:spPr>
        <p:txBody>
          <a:bodyPr anchor="b">
            <a:noAutofit/>
          </a:bodyPr>
          <a:lstStyle>
            <a:lvl1pPr marL="0" indent="0">
              <a:buNone/>
              <a:defRPr sz="138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62901" indent="0">
              <a:buNone/>
              <a:defRPr sz="1150" b="1"/>
            </a:lvl2pPr>
            <a:lvl3pPr marL="525803" indent="0">
              <a:buNone/>
              <a:defRPr sz="1035" b="1"/>
            </a:lvl3pPr>
            <a:lvl4pPr marL="788704" indent="0">
              <a:buNone/>
              <a:defRPr sz="920" b="1"/>
            </a:lvl4pPr>
            <a:lvl5pPr marL="1051606" indent="0">
              <a:buNone/>
              <a:defRPr sz="920" b="1"/>
            </a:lvl5pPr>
            <a:lvl6pPr marL="1314507" indent="0">
              <a:buNone/>
              <a:defRPr sz="920" b="1"/>
            </a:lvl6pPr>
            <a:lvl7pPr marL="1577409" indent="0">
              <a:buNone/>
              <a:defRPr sz="920" b="1"/>
            </a:lvl7pPr>
            <a:lvl8pPr marL="1840310" indent="0">
              <a:buNone/>
              <a:defRPr sz="920" b="1"/>
            </a:lvl8pPr>
            <a:lvl9pPr marL="2103211" indent="0">
              <a:buNone/>
              <a:defRPr sz="920" b="1"/>
            </a:lvl9pPr>
          </a:lstStyle>
          <a:p>
            <a:pPr lvl="0"/>
            <a:r>
              <a:rPr lang="en-US" dirty="0"/>
              <a:t>COLUMN TIT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792572" y="1687685"/>
            <a:ext cx="3375106" cy="2868666"/>
          </a:xfrm>
        </p:spPr>
        <p:txBody>
          <a:bodyPr>
            <a:normAutofit/>
          </a:bodyPr>
          <a:lstStyle>
            <a:lvl1pPr>
              <a:defRPr sz="1035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92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805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69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69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690"/>
            </a:lvl6pPr>
            <a:lvl7pPr>
              <a:defRPr sz="690"/>
            </a:lvl7pPr>
            <a:lvl8pPr>
              <a:defRPr sz="690"/>
            </a:lvl8pPr>
            <a:lvl9pPr>
              <a:defRPr sz="69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2995212-60D7-124F-84AF-E046C34359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8590" y="259456"/>
            <a:ext cx="7416766" cy="75559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5313254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D9E1E285-0B80-5340-9ABB-2C68583FF3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8590" y="259456"/>
            <a:ext cx="7416766" cy="75559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381175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6FB98250-ACD1-DE4E-85CA-777ABF4856B1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0"/>
            <a:ext cx="9359900" cy="52578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B8A91DCF-34C5-524F-89F9-D8A7D493EE35}"/>
              </a:ext>
            </a:extLst>
          </p:cNvPr>
          <p:cNvSpPr/>
          <p:nvPr/>
        </p:nvSpPr>
        <p:spPr>
          <a:xfrm>
            <a:off x="2" y="0"/>
            <a:ext cx="9359899" cy="5257800"/>
          </a:xfrm>
          <a:prstGeom prst="rect">
            <a:avLst/>
          </a:prstGeom>
          <a:solidFill>
            <a:schemeClr val="accent4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990">
              <a:solidFill>
                <a:schemeClr val="accent4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6480ECF-DB9F-8D4C-8BFC-CA6818AE36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09305" y="3110867"/>
            <a:ext cx="5784126" cy="83978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27332C8-FE29-2A4E-A971-D3E4D2F72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9305" y="1515486"/>
            <a:ext cx="5784126" cy="1412819"/>
          </a:xfrm>
          <a:prstGeom prst="rect">
            <a:avLst/>
          </a:prstGeom>
        </p:spPr>
        <p:txBody>
          <a:bodyPr/>
          <a:lstStyle>
            <a:lvl1pPr>
              <a:defRPr sz="3450" spc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EB540FE-A883-F741-BDFA-057D19B49B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95550" y="4607738"/>
            <a:ext cx="319618" cy="403333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BC60F2C8-36F6-4049-9F37-A002CD794776}"/>
              </a:ext>
            </a:extLst>
          </p:cNvPr>
          <p:cNvSpPr/>
          <p:nvPr/>
        </p:nvSpPr>
        <p:spPr>
          <a:xfrm>
            <a:off x="1" y="0"/>
            <a:ext cx="83570" cy="52578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6732054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rtial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6FB98250-ACD1-DE4E-85CA-777ABF4856B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/>
          </a:blip>
          <a:srcRect l="20715" r="37857"/>
          <a:stretch/>
        </p:blipFill>
        <p:spPr>
          <a:xfrm>
            <a:off x="1" y="0"/>
            <a:ext cx="3877673" cy="52578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B8A91DCF-34C5-524F-89F9-D8A7D493EE35}"/>
              </a:ext>
            </a:extLst>
          </p:cNvPr>
          <p:cNvSpPr/>
          <p:nvPr/>
        </p:nvSpPr>
        <p:spPr>
          <a:xfrm>
            <a:off x="1" y="0"/>
            <a:ext cx="3877673" cy="5257800"/>
          </a:xfrm>
          <a:prstGeom prst="rect">
            <a:avLst/>
          </a:prstGeom>
          <a:solidFill>
            <a:schemeClr val="accent4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990">
              <a:solidFill>
                <a:schemeClr val="accent4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27332C8-FE29-2A4E-A971-D3E4D2F72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45" y="1365263"/>
            <a:ext cx="2932406" cy="2373619"/>
          </a:xfrm>
          <a:prstGeom prst="rect">
            <a:avLst/>
          </a:prstGeom>
        </p:spPr>
        <p:txBody>
          <a:bodyPr/>
          <a:lstStyle>
            <a:lvl1pPr>
              <a:defRPr sz="3450" spc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EB540FE-A883-F741-BDFA-057D19B49B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95550" y="4607738"/>
            <a:ext cx="319618" cy="403333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BC60F2C8-36F6-4049-9F37-A002CD794776}"/>
              </a:ext>
            </a:extLst>
          </p:cNvPr>
          <p:cNvSpPr/>
          <p:nvPr/>
        </p:nvSpPr>
        <p:spPr>
          <a:xfrm>
            <a:off x="1" y="0"/>
            <a:ext cx="83570" cy="52578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4BEEFB20-F346-D34C-AE92-D02D17441B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37947" y="1365263"/>
            <a:ext cx="2539624" cy="2373619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9575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6326" y="927418"/>
            <a:ext cx="2611025" cy="1109980"/>
          </a:xfrm>
          <a:prstGeom prst="rect">
            <a:avLst/>
          </a:prstGeom>
        </p:spPr>
        <p:txBody>
          <a:bodyPr anchor="b"/>
          <a:lstStyle>
            <a:lvl1pPr algn="l">
              <a:defRPr sz="1380" b="0" spc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86328" y="2216554"/>
            <a:ext cx="2611024" cy="2219959"/>
          </a:xfrm>
        </p:spPr>
        <p:txBody>
          <a:bodyPr>
            <a:normAutofit/>
          </a:bodyPr>
          <a:lstStyle>
            <a:lvl1pPr marL="0" indent="0">
              <a:buNone/>
              <a:defRPr sz="92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62901" indent="0">
              <a:buNone/>
              <a:defRPr sz="690"/>
            </a:lvl2pPr>
            <a:lvl3pPr marL="525803" indent="0">
              <a:buNone/>
              <a:defRPr sz="575"/>
            </a:lvl3pPr>
            <a:lvl4pPr marL="788704" indent="0">
              <a:buNone/>
              <a:defRPr sz="518"/>
            </a:lvl4pPr>
            <a:lvl5pPr marL="1051606" indent="0">
              <a:buNone/>
              <a:defRPr sz="518"/>
            </a:lvl5pPr>
            <a:lvl6pPr marL="1314507" indent="0">
              <a:buNone/>
              <a:defRPr sz="518"/>
            </a:lvl6pPr>
            <a:lvl7pPr marL="1577409" indent="0">
              <a:buNone/>
              <a:defRPr sz="518"/>
            </a:lvl7pPr>
            <a:lvl8pPr marL="1840310" indent="0">
              <a:buNone/>
              <a:defRPr sz="518"/>
            </a:lvl8pPr>
            <a:lvl9pPr marL="2103211" indent="0">
              <a:buNone/>
              <a:defRPr sz="518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7CBE4C0-C38D-A94F-B0EA-B36306C08151}"/>
              </a:ext>
            </a:extLst>
          </p:cNvPr>
          <p:cNvCxnSpPr>
            <a:cxnSpLocks/>
          </p:cNvCxnSpPr>
          <p:nvPr/>
        </p:nvCxnSpPr>
        <p:spPr>
          <a:xfrm>
            <a:off x="3407589" y="833751"/>
            <a:ext cx="0" cy="3712299"/>
          </a:xfrm>
          <a:prstGeom prst="line">
            <a:avLst/>
          </a:prstGeom>
          <a:ln w="19050" cap="sq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C9C3E5EE-E7CA-F846-9999-2A39DDEC2215}"/>
              </a:ext>
            </a:extLst>
          </p:cNvPr>
          <p:cNvSpPr>
            <a:spLocks noGrp="1" noChangeAspect="1"/>
          </p:cNvSpPr>
          <p:nvPr>
            <p:ph type="pic" idx="1"/>
          </p:nvPr>
        </p:nvSpPr>
        <p:spPr>
          <a:xfrm>
            <a:off x="3617827" y="927417"/>
            <a:ext cx="4681772" cy="3509095"/>
          </a:xfrm>
          <a:prstGeom prst="roundRect">
            <a:avLst>
              <a:gd name="adj" fmla="val 1858"/>
            </a:avLst>
          </a:prstGeom>
          <a:solidFill>
            <a:schemeClr val="tx2">
              <a:alpha val="25000"/>
            </a:schemeClr>
          </a:solidFill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920"/>
            </a:lvl1pPr>
            <a:lvl2pPr marL="262901" indent="0">
              <a:buNone/>
              <a:defRPr sz="920"/>
            </a:lvl2pPr>
            <a:lvl3pPr marL="525803" indent="0">
              <a:buNone/>
              <a:defRPr sz="920"/>
            </a:lvl3pPr>
            <a:lvl4pPr marL="788704" indent="0">
              <a:buNone/>
              <a:defRPr sz="920"/>
            </a:lvl4pPr>
            <a:lvl5pPr marL="1051606" indent="0">
              <a:buNone/>
              <a:defRPr sz="920"/>
            </a:lvl5pPr>
            <a:lvl6pPr marL="1314507" indent="0">
              <a:buNone/>
              <a:defRPr sz="920"/>
            </a:lvl6pPr>
            <a:lvl7pPr marL="1577409" indent="0">
              <a:buNone/>
              <a:defRPr sz="920"/>
            </a:lvl7pPr>
            <a:lvl8pPr marL="1840310" indent="0">
              <a:buNone/>
              <a:defRPr sz="920"/>
            </a:lvl8pPr>
            <a:lvl9pPr marL="2103211" indent="0">
              <a:buNone/>
              <a:defRPr sz="92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6616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4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6606804" y="4673600"/>
            <a:ext cx="762899" cy="5842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" y="0"/>
            <a:ext cx="83570" cy="52578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6026" y="347084"/>
            <a:ext cx="7220084" cy="107374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7022" y="1573906"/>
            <a:ext cx="6868334" cy="32165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01D9D96-DEE1-8844-9F8C-58215BC7B638}"/>
              </a:ext>
            </a:extLst>
          </p:cNvPr>
          <p:cNvPicPr>
            <a:picLocks noChangeAspect="1"/>
          </p:cNvPicPr>
          <p:nvPr/>
        </p:nvPicPr>
        <p:blipFill>
          <a:blip r:embed="rId26">
            <a:alphaModFix amt="35000"/>
          </a:blip>
          <a:stretch>
            <a:fillRect/>
          </a:stretch>
        </p:blipFill>
        <p:spPr>
          <a:xfrm>
            <a:off x="8657647" y="4494165"/>
            <a:ext cx="363743" cy="459014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C11B457-DE30-F840-909D-BFE9638A9CAE}"/>
              </a:ext>
            </a:extLst>
          </p:cNvPr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600294723"/>
              </p:ext>
            </p:extLst>
          </p:nvPr>
        </p:nvGraphicFramePr>
        <p:xfrm>
          <a:off x="1626" y="1218"/>
          <a:ext cx="1624" cy="12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C11B457-DE30-F840-909D-BFE9638A9C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626" y="1218"/>
                        <a:ext cx="1624" cy="12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807666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  <p:sldLayoutId id="2147483680" r:id="rId14"/>
    <p:sldLayoutId id="2147483681" r:id="rId15"/>
    <p:sldLayoutId id="2147483682" r:id="rId16"/>
    <p:sldLayoutId id="2147483684" r:id="rId17"/>
    <p:sldLayoutId id="2147483685" r:id="rId18"/>
    <p:sldLayoutId id="2147483686" r:id="rId19"/>
    <p:sldLayoutId id="2147483687" r:id="rId20"/>
    <p:sldLayoutId id="2147483688" r:id="rId21"/>
  </p:sldLayoutIdLst>
  <p:txStyles>
    <p:titleStyle>
      <a:lvl1pPr algn="l" defTabSz="262901" rtl="0" eaLnBrk="1" latinLnBrk="0" hangingPunct="1">
        <a:spcBef>
          <a:spcPct val="0"/>
        </a:spcBef>
        <a:buNone/>
        <a:defRPr sz="3600" b="0" i="0" kern="1200" spc="173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197176" indent="-197176" algn="l" defTabSz="262901" rtl="0" eaLnBrk="1" latinLnBrk="0" hangingPunct="1">
        <a:spcBef>
          <a:spcPts val="575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3200" b="0" i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  <a:lvl2pPr marL="427215" indent="-164314" algn="l" defTabSz="262901" rtl="0" eaLnBrk="1" latinLnBrk="0" hangingPunct="1">
        <a:spcBef>
          <a:spcPts val="575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800" b="0" i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2pPr>
      <a:lvl3pPr marL="657254" indent="-131451" algn="l" defTabSz="262901" rtl="0" eaLnBrk="1" latinLnBrk="0" hangingPunct="1">
        <a:spcBef>
          <a:spcPts val="575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400" b="0" i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3pPr>
      <a:lvl4pPr marL="920155" indent="-131451" algn="l" defTabSz="262901" rtl="0" eaLnBrk="1" latinLnBrk="0" hangingPunct="1">
        <a:spcBef>
          <a:spcPts val="575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000" b="0" i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4pPr>
      <a:lvl5pPr marL="1183056" indent="-131451" algn="l" defTabSz="262901" rtl="0" eaLnBrk="1" latinLnBrk="0" hangingPunct="1">
        <a:spcBef>
          <a:spcPts val="575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000" b="0" i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5pPr>
      <a:lvl6pPr marL="1441013" indent="-131451" algn="l" defTabSz="262901" rtl="0" eaLnBrk="1" latinLnBrk="0" hangingPunct="1">
        <a:spcBef>
          <a:spcPts val="575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805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1708859" indent="-131451" algn="l" defTabSz="262901" rtl="0" eaLnBrk="1" latinLnBrk="0" hangingPunct="1">
        <a:spcBef>
          <a:spcPts val="575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805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1971761" indent="-131451" algn="l" defTabSz="262901" rtl="0" eaLnBrk="1" latinLnBrk="0" hangingPunct="1">
        <a:spcBef>
          <a:spcPts val="575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805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2234662" indent="-131451" algn="l" defTabSz="262901" rtl="0" eaLnBrk="1" latinLnBrk="0" hangingPunct="1">
        <a:spcBef>
          <a:spcPts val="575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805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262901" rtl="0" eaLnBrk="1" latinLnBrk="0" hangingPunct="1">
        <a:defRPr sz="1035" kern="1200">
          <a:solidFill>
            <a:schemeClr val="tx1"/>
          </a:solidFill>
          <a:latin typeface="+mn-lt"/>
          <a:ea typeface="+mn-ea"/>
          <a:cs typeface="+mn-cs"/>
        </a:defRPr>
      </a:lvl1pPr>
      <a:lvl2pPr marL="262901" algn="l" defTabSz="262901" rtl="0" eaLnBrk="1" latinLnBrk="0" hangingPunct="1">
        <a:defRPr sz="1035" kern="1200">
          <a:solidFill>
            <a:schemeClr val="tx1"/>
          </a:solidFill>
          <a:latin typeface="+mn-lt"/>
          <a:ea typeface="+mn-ea"/>
          <a:cs typeface="+mn-cs"/>
        </a:defRPr>
      </a:lvl2pPr>
      <a:lvl3pPr marL="525803" algn="l" defTabSz="262901" rtl="0" eaLnBrk="1" latinLnBrk="0" hangingPunct="1">
        <a:defRPr sz="1035" kern="1200">
          <a:solidFill>
            <a:schemeClr val="tx1"/>
          </a:solidFill>
          <a:latin typeface="+mn-lt"/>
          <a:ea typeface="+mn-ea"/>
          <a:cs typeface="+mn-cs"/>
        </a:defRPr>
      </a:lvl3pPr>
      <a:lvl4pPr marL="788704" algn="l" defTabSz="262901" rtl="0" eaLnBrk="1" latinLnBrk="0" hangingPunct="1">
        <a:defRPr sz="1035" kern="1200">
          <a:solidFill>
            <a:schemeClr val="tx1"/>
          </a:solidFill>
          <a:latin typeface="+mn-lt"/>
          <a:ea typeface="+mn-ea"/>
          <a:cs typeface="+mn-cs"/>
        </a:defRPr>
      </a:lvl4pPr>
      <a:lvl5pPr marL="1051606" algn="l" defTabSz="262901" rtl="0" eaLnBrk="1" latinLnBrk="0" hangingPunct="1">
        <a:defRPr sz="1035" kern="1200">
          <a:solidFill>
            <a:schemeClr val="tx1"/>
          </a:solidFill>
          <a:latin typeface="+mn-lt"/>
          <a:ea typeface="+mn-ea"/>
          <a:cs typeface="+mn-cs"/>
        </a:defRPr>
      </a:lvl5pPr>
      <a:lvl6pPr marL="1314507" algn="l" defTabSz="262901" rtl="0" eaLnBrk="1" latinLnBrk="0" hangingPunct="1">
        <a:defRPr sz="1035" kern="1200">
          <a:solidFill>
            <a:schemeClr val="tx1"/>
          </a:solidFill>
          <a:latin typeface="+mn-lt"/>
          <a:ea typeface="+mn-ea"/>
          <a:cs typeface="+mn-cs"/>
        </a:defRPr>
      </a:lvl6pPr>
      <a:lvl7pPr marL="1577409" algn="l" defTabSz="262901" rtl="0" eaLnBrk="1" latinLnBrk="0" hangingPunct="1">
        <a:defRPr sz="1035" kern="1200">
          <a:solidFill>
            <a:schemeClr val="tx1"/>
          </a:solidFill>
          <a:latin typeface="+mn-lt"/>
          <a:ea typeface="+mn-ea"/>
          <a:cs typeface="+mn-cs"/>
        </a:defRPr>
      </a:lvl7pPr>
      <a:lvl8pPr marL="1840310" algn="l" defTabSz="262901" rtl="0" eaLnBrk="1" latinLnBrk="0" hangingPunct="1">
        <a:defRPr sz="1035" kern="1200">
          <a:solidFill>
            <a:schemeClr val="tx1"/>
          </a:solidFill>
          <a:latin typeface="+mn-lt"/>
          <a:ea typeface="+mn-ea"/>
          <a:cs typeface="+mn-cs"/>
        </a:defRPr>
      </a:lvl8pPr>
      <a:lvl9pPr marL="2103211" algn="l" defTabSz="262901" rtl="0" eaLnBrk="1" latinLnBrk="0" hangingPunct="1">
        <a:defRPr sz="103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5" Type="http://schemas.openxmlformats.org/officeDocument/2006/relationships/hyperlink" Target="http://www.eecs.berkeley.edu/~zhanghao/main/publications/subfolder/netflix.png" TargetMode="External"/><Relationship Id="rId4" Type="http://schemas.openxmlformats.org/officeDocument/2006/relationships/image" Target="../media/image16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8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://www2.research.att.com/~volinsky/papers/ieeecomputer.pdf" TargetMode="External"/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9359900" cy="5257800"/>
          </a:xfrm>
          <a:custGeom>
            <a:avLst/>
            <a:gdLst/>
            <a:ahLst/>
            <a:cxnLst/>
            <a:rect l="l" t="t" r="r" b="b"/>
            <a:pathLst>
              <a:path w="9359900" h="5257800">
                <a:moveTo>
                  <a:pt x="0" y="0"/>
                </a:moveTo>
                <a:lnTo>
                  <a:pt x="9359900" y="0"/>
                </a:lnTo>
                <a:lnTo>
                  <a:pt x="9359900" y="5257800"/>
                </a:lnTo>
                <a:lnTo>
                  <a:pt x="0" y="525780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457200" y="487362"/>
            <a:ext cx="8448675" cy="0"/>
          </a:xfrm>
          <a:custGeom>
            <a:avLst/>
            <a:gdLst/>
            <a:ahLst/>
            <a:cxnLst/>
            <a:rect l="l" t="t" r="r" b="b"/>
            <a:pathLst>
              <a:path w="8448675">
                <a:moveTo>
                  <a:pt x="0" y="0"/>
                </a:moveTo>
                <a:lnTo>
                  <a:pt x="8448675" y="0"/>
                </a:lnTo>
              </a:path>
            </a:pathLst>
          </a:custGeom>
          <a:ln w="63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419100" y="520700"/>
            <a:ext cx="279400" cy="3175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5875">
              <a:lnSpc>
                <a:spcPct val="100000"/>
              </a:lnSpc>
              <a:spcBef>
                <a:spcPts val="100"/>
              </a:spcBef>
              <a:tabLst>
                <a:tab pos="307340" algn="l"/>
                <a:tab pos="8463915" algn="l"/>
              </a:tabLst>
            </a:pPr>
            <a:r>
              <a:rPr spc="0" dirty="0">
                <a:latin typeface="Times New Roman"/>
                <a:cs typeface="Times New Roman"/>
              </a:rPr>
              <a:t> 	</a:t>
            </a:r>
            <a:r>
              <a:rPr spc="0" dirty="0"/>
              <a:t>Metis	</a:t>
            </a:r>
          </a:p>
        </p:txBody>
      </p:sp>
      <p:sp>
        <p:nvSpPr>
          <p:cNvPr id="6" name="object 6"/>
          <p:cNvSpPr txBox="1"/>
          <p:nvPr/>
        </p:nvSpPr>
        <p:spPr>
          <a:xfrm>
            <a:off x="228600" y="1689100"/>
            <a:ext cx="8444230" cy="27279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5800" b="1" spc="-1425" dirty="0">
                <a:solidFill>
                  <a:srgbClr val="FFFFFF"/>
                </a:solidFill>
                <a:latin typeface="Arial"/>
                <a:cs typeface="Arial"/>
              </a:rPr>
              <a:t>INTRO</a:t>
            </a:r>
            <a:r>
              <a:rPr sz="5800" b="1" spc="-137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5800" b="1" spc="-1795" dirty="0">
                <a:solidFill>
                  <a:srgbClr val="FFFFFF"/>
                </a:solidFill>
                <a:latin typeface="Arial"/>
                <a:cs typeface="Arial"/>
              </a:rPr>
              <a:t>TO</a:t>
            </a:r>
            <a:r>
              <a:rPr sz="5800" b="1" spc="-69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5800" b="1" spc="-1760" dirty="0">
                <a:solidFill>
                  <a:srgbClr val="FFFFFF"/>
                </a:solidFill>
                <a:latin typeface="Arial"/>
                <a:cs typeface="Arial"/>
              </a:rPr>
              <a:t>DATA</a:t>
            </a:r>
            <a:r>
              <a:rPr sz="5800" b="1" spc="-6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5800" b="1" spc="-1500" dirty="0">
                <a:solidFill>
                  <a:srgbClr val="FFFFFF"/>
                </a:solidFill>
                <a:latin typeface="Arial"/>
                <a:cs typeface="Arial"/>
              </a:rPr>
              <a:t>SCIENCE</a:t>
            </a:r>
            <a:endParaRPr sz="58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40"/>
              </a:spcBef>
            </a:pPr>
            <a:r>
              <a:rPr sz="5800" b="1" spc="-1760" dirty="0">
                <a:solidFill>
                  <a:srgbClr val="FFFFFF"/>
                </a:solidFill>
                <a:latin typeface="Arial"/>
                <a:cs typeface="Arial"/>
              </a:rPr>
              <a:t>LECTURE</a:t>
            </a:r>
            <a:r>
              <a:rPr sz="5800" b="1" spc="-83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5800" b="1" spc="-850" dirty="0">
                <a:solidFill>
                  <a:srgbClr val="FFFFFF"/>
                </a:solidFill>
                <a:latin typeface="Arial"/>
                <a:cs typeface="Arial"/>
              </a:rPr>
              <a:t>14:</a:t>
            </a:r>
            <a:r>
              <a:rPr sz="5800" b="1" spc="-83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5800" b="1" spc="-1810" dirty="0">
                <a:solidFill>
                  <a:srgbClr val="FFFFFF"/>
                </a:solidFill>
                <a:latin typeface="Arial"/>
                <a:cs typeface="Arial"/>
              </a:rPr>
              <a:t>RECOMMENDER</a:t>
            </a:r>
            <a:r>
              <a:rPr sz="5800" b="1" spc="-83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5800" b="1" spc="-1685" dirty="0">
                <a:solidFill>
                  <a:srgbClr val="FFFFFF"/>
                </a:solidFill>
                <a:latin typeface="Arial"/>
                <a:cs typeface="Arial"/>
              </a:rPr>
              <a:t>SYSTEMS</a:t>
            </a:r>
            <a:endParaRPr sz="5800">
              <a:latin typeface="Arial"/>
              <a:cs typeface="Arial"/>
            </a:endParaRPr>
          </a:p>
          <a:p>
            <a:pPr marL="279400" marR="6640830">
              <a:lnSpc>
                <a:spcPts val="2800"/>
              </a:lnSpc>
              <a:spcBef>
                <a:spcPts val="1700"/>
              </a:spcBef>
            </a:pPr>
            <a:r>
              <a:rPr sz="2400" b="1" spc="-200" dirty="0">
                <a:solidFill>
                  <a:srgbClr val="FFFFFF"/>
                </a:solidFill>
                <a:latin typeface="Trebuchet MS"/>
                <a:cs typeface="Trebuchet MS"/>
              </a:rPr>
              <a:t>Paul </a:t>
            </a:r>
            <a:r>
              <a:rPr sz="2400" b="1" spc="-229" dirty="0">
                <a:solidFill>
                  <a:srgbClr val="FFFFFF"/>
                </a:solidFill>
                <a:latin typeface="Trebuchet MS"/>
                <a:cs typeface="Trebuchet MS"/>
              </a:rPr>
              <a:t>Burkard  </a:t>
            </a:r>
            <a:r>
              <a:rPr sz="2400" b="1" spc="-155" dirty="0">
                <a:solidFill>
                  <a:srgbClr val="FFFFFF"/>
                </a:solidFill>
                <a:latin typeface="Trebuchet MS"/>
                <a:cs typeface="Trebuchet MS"/>
              </a:rPr>
              <a:t>12/14/2015</a:t>
            </a:r>
            <a:endParaRPr sz="2400">
              <a:latin typeface="Trebuchet MS"/>
              <a:cs typeface="Trebuchet MS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0E3F8161-C0D9-4549-B9D6-11E50F16DC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pc="0" dirty="0"/>
              <a:t>Examples – Netflix</a:t>
            </a:r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5E6519B9-233E-8C48-A48F-06313E869067}"/>
              </a:ext>
            </a:extLst>
          </p:cNvPr>
          <p:cNvSpPr/>
          <p:nvPr/>
        </p:nvSpPr>
        <p:spPr>
          <a:xfrm>
            <a:off x="1485900" y="1308100"/>
            <a:ext cx="6388100" cy="33782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871552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0E3F8161-C0D9-4549-B9D6-11E50F16DC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pc="0" dirty="0"/>
              <a:t>Examples – </a:t>
            </a:r>
            <a:r>
              <a:rPr lang="en-US" spc="0" dirty="0" err="1"/>
              <a:t>Youtube</a:t>
            </a:r>
            <a:endParaRPr lang="en-US" spc="0" dirty="0"/>
          </a:p>
        </p:txBody>
      </p:sp>
      <p:sp>
        <p:nvSpPr>
          <p:cNvPr id="5" name="object 4">
            <a:extLst>
              <a:ext uri="{FF2B5EF4-FFF2-40B4-BE49-F238E27FC236}">
                <a16:creationId xmlns:a16="http://schemas.microsoft.com/office/drawing/2014/main" id="{04E4B51C-4DED-584D-8B2A-5AFEBB1345C7}"/>
              </a:ext>
            </a:extLst>
          </p:cNvPr>
          <p:cNvSpPr/>
          <p:nvPr/>
        </p:nvSpPr>
        <p:spPr>
          <a:xfrm>
            <a:off x="2361870" y="952500"/>
            <a:ext cx="4762829" cy="43053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360591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0E3F8161-C0D9-4549-B9D6-11E50F16DC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pc="0" dirty="0"/>
              <a:t>Examples – NYTimes</a:t>
            </a: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8740FBBD-66DC-9145-8F55-3BADC00922A2}"/>
              </a:ext>
            </a:extLst>
          </p:cNvPr>
          <p:cNvSpPr/>
          <p:nvPr/>
        </p:nvSpPr>
        <p:spPr>
          <a:xfrm>
            <a:off x="2273300" y="1028700"/>
            <a:ext cx="4737100" cy="38227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136184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0E3F8161-C0D9-4549-B9D6-11E50F16DC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pc="0" dirty="0"/>
              <a:t>Examples – NYTimes</a:t>
            </a: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649E3B54-EE52-1548-B16E-67BA70B1D8D7}"/>
              </a:ext>
            </a:extLst>
          </p:cNvPr>
          <p:cNvSpPr/>
          <p:nvPr/>
        </p:nvSpPr>
        <p:spPr>
          <a:xfrm>
            <a:off x="2273300" y="1028700"/>
            <a:ext cx="4737100" cy="38227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029970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2B0CFC-FC46-3B42-A71B-18AB08A06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mmender System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1187B9-16CF-0841-A911-D9821DB89D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There are two general approaches to their design:</a:t>
            </a:r>
          </a:p>
          <a:p>
            <a:pPr lvl="1"/>
            <a:r>
              <a:rPr lang="en-US" dirty="0"/>
              <a:t>In content-based filtering, items are mapped into a feature space, and  recommendations depend on specified characteristics.</a:t>
            </a:r>
          </a:p>
          <a:p>
            <a:pPr lvl="1"/>
            <a:r>
              <a:rPr lang="en-US" dirty="0"/>
              <a:t>In contrast, the only data under consideration in collaborative filtering are user-item ratings, and recommendations depend on user preferences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02949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DC58B2A-39AE-2B4F-B2EF-9AB32FE81FE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pc="0" dirty="0"/>
              <a:t>Content Based Recommenders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D57370FE-FFBE-984D-B514-448558DEC68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92500" lnSpcReduction="20000"/>
          </a:bodyPr>
          <a:lstStyle/>
          <a:p>
            <a:endParaRPr lang="en-US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CONTENT-BASED RECOMMENDER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978AB5F-2C50-AB48-9E82-9F87D94761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Content-based recommendation begins by mapping each item into a  feature space. Both users and items are represented by vectors in this space.</a:t>
            </a:r>
          </a:p>
          <a:p>
            <a:r>
              <a:rPr lang="en-US" sz="2400" dirty="0"/>
              <a:t>Two approaches:</a:t>
            </a:r>
          </a:p>
          <a:p>
            <a:pPr lvl="1"/>
            <a:r>
              <a:rPr lang="en-US" sz="1800" dirty="0"/>
              <a:t>Map users and items to same feature space, compute distance  between a user and item</a:t>
            </a:r>
          </a:p>
          <a:p>
            <a:pPr lvl="1"/>
            <a:r>
              <a:rPr lang="en-US" sz="1800" dirty="0"/>
              <a:t>Create features from </a:t>
            </a:r>
            <a:r>
              <a:rPr lang="en-US" sz="1800" dirty="0" err="1"/>
              <a:t>user+item</a:t>
            </a:r>
            <a:r>
              <a:rPr lang="en-US" sz="1800" dirty="0"/>
              <a:t> pairs and use ML algorithm to predict like/  dislike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CONTENT-BASED RECOMMENDATION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D27A0F7-FA1C-7D40-B93B-3E33F1CCD59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/>
              <a:t>1) Map users and items to same feature space, compute distance  between a user and item</a:t>
            </a:r>
          </a:p>
          <a:p>
            <a:r>
              <a:rPr lang="en-US" dirty="0"/>
              <a:t>Item vectors measure the degree to which the item is described by each feature,  and user vectors measure a user’s preferences for each feature.</a:t>
            </a:r>
          </a:p>
          <a:p>
            <a:r>
              <a:rPr lang="en-US" dirty="0"/>
              <a:t>1) Toy Story -&gt; (Comedy: 1, Animated: 1, Mafia: 0)  Godfather -&gt; (Comedy: 0, Animated, Mafia: 1)</a:t>
            </a:r>
          </a:p>
          <a:p>
            <a:r>
              <a:rPr lang="en-US" dirty="0"/>
              <a:t>User 1 -&gt; (Comedy 1, Animated: 0, Mafia: 0)</a:t>
            </a:r>
          </a:p>
          <a:p>
            <a:endParaRPr lang="en-US" dirty="0"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EXAMPLE – CONTENT-BASED RECOMMENDATION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596900" y="1301539"/>
            <a:ext cx="6486525" cy="62837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dirty="0">
                <a:latin typeface="DejaVu Sans"/>
                <a:cs typeface="DejaVu Sans"/>
              </a:rPr>
              <a:t>features = (big box oﬃce, aimed at kids, famous actors)</a:t>
            </a:r>
          </a:p>
        </p:txBody>
      </p:sp>
      <p:sp>
        <p:nvSpPr>
          <p:cNvPr id="5" name="object 5"/>
          <p:cNvSpPr txBox="1"/>
          <p:nvPr/>
        </p:nvSpPr>
        <p:spPr>
          <a:xfrm>
            <a:off x="668191" y="2190810"/>
            <a:ext cx="4009390" cy="91307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DejaVu Sans"/>
                <a:cs typeface="DejaVu Sans"/>
              </a:rPr>
              <a:t>items (movies):</a:t>
            </a:r>
          </a:p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DejaVu Sans"/>
                <a:cs typeface="DejaVu Sans"/>
              </a:rPr>
              <a:t>Finding Nemo = (5, 5, 2)</a:t>
            </a:r>
          </a:p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DejaVu Sans"/>
                <a:cs typeface="DejaVu Sans"/>
              </a:rPr>
              <a:t>Mission Impossible = (3, -5, 5)</a:t>
            </a:r>
          </a:p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DejaVu Sans"/>
                <a:cs typeface="DejaVu Sans"/>
              </a:rPr>
              <a:t>Jiro Dreams of Sushi = (-4, -5, -5)</a:t>
            </a:r>
          </a:p>
        </p:txBody>
      </p:sp>
      <p:sp>
        <p:nvSpPr>
          <p:cNvPr id="6" name="object 6"/>
          <p:cNvSpPr txBox="1"/>
          <p:nvPr/>
        </p:nvSpPr>
        <p:spPr>
          <a:xfrm>
            <a:off x="4926436" y="2228063"/>
            <a:ext cx="2788920" cy="8758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080">
              <a:lnSpc>
                <a:spcPct val="102800"/>
              </a:lnSpc>
            </a:pPr>
            <a:r>
              <a:rPr sz="1400" dirty="0">
                <a:latin typeface="DejaVu Sans"/>
                <a:cs typeface="DejaVu Sans"/>
              </a:rPr>
              <a:t>predicted ratings*:  </a:t>
            </a:r>
            <a:endParaRPr lang="en-US" sz="1400" dirty="0">
              <a:latin typeface="DejaVu Sans"/>
              <a:cs typeface="DejaVu Sans"/>
            </a:endParaRPr>
          </a:p>
          <a:p>
            <a:pPr marR="5080">
              <a:lnSpc>
                <a:spcPct val="102800"/>
              </a:lnSpc>
            </a:pPr>
            <a:r>
              <a:rPr sz="1400" dirty="0">
                <a:latin typeface="DejaVu Sans"/>
                <a:cs typeface="DejaVu Sans"/>
              </a:rPr>
              <a:t>(-3*5 + 2*5 -2*2) = -9</a:t>
            </a:r>
            <a:endParaRPr lang="en-US" sz="1400" dirty="0">
              <a:latin typeface="DejaVu Sans"/>
              <a:cs typeface="DejaVu Sans"/>
            </a:endParaRPr>
          </a:p>
          <a:p>
            <a:pPr marR="5080">
              <a:lnSpc>
                <a:spcPct val="102800"/>
              </a:lnSpc>
            </a:pPr>
            <a:r>
              <a:rPr sz="1400" dirty="0">
                <a:latin typeface="DejaVu Sans"/>
                <a:cs typeface="DejaVu Sans"/>
              </a:rPr>
              <a:t>(-3*3 - 2*5 -2*5) = -29</a:t>
            </a:r>
            <a:endParaRPr lang="en-US" sz="1400" dirty="0">
              <a:latin typeface="DejaVu Sans"/>
              <a:cs typeface="DejaVu Sans"/>
            </a:endParaRPr>
          </a:p>
          <a:p>
            <a:pPr marR="5080">
              <a:lnSpc>
                <a:spcPct val="102800"/>
              </a:lnSpc>
            </a:pPr>
            <a:r>
              <a:rPr sz="1400" dirty="0">
                <a:latin typeface="DejaVu Sans"/>
                <a:cs typeface="DejaVu Sans"/>
              </a:rPr>
              <a:t>(3*4 - 2*5 + 2*5) = +12</a:t>
            </a:r>
          </a:p>
        </p:txBody>
      </p:sp>
      <p:sp>
        <p:nvSpPr>
          <p:cNvPr id="7" name="object 7"/>
          <p:cNvSpPr txBox="1"/>
          <p:nvPr/>
        </p:nvSpPr>
        <p:spPr>
          <a:xfrm>
            <a:off x="628650" y="3619500"/>
            <a:ext cx="2164080" cy="4565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DejaVu Sans"/>
                <a:cs typeface="DejaVu Sans"/>
              </a:rPr>
              <a:t>users:</a:t>
            </a:r>
          </a:p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DejaVu Sans"/>
                <a:cs typeface="DejaVu Sans"/>
              </a:rPr>
              <a:t>Jason = (-3, 2, -2)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CONTENT-BASED RECOMMENDATION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51FC845-456A-9E46-A7DF-39241FC9F4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2) Create features from </a:t>
            </a:r>
            <a:r>
              <a:rPr lang="en-US" sz="2400" dirty="0" err="1"/>
              <a:t>user+item</a:t>
            </a:r>
            <a:r>
              <a:rPr lang="en-US" sz="2400" dirty="0"/>
              <a:t> pairs and use ML algorithm  (classifier for instance) to predict like/dislike</a:t>
            </a:r>
          </a:p>
          <a:p>
            <a:pPr lvl="1"/>
            <a:r>
              <a:rPr lang="en-US" sz="1800" dirty="0"/>
              <a:t>Each sample/row is a user/item pair with some outcome:  Outcome = Bought</a:t>
            </a:r>
          </a:p>
          <a:p>
            <a:pPr lvl="1"/>
            <a:r>
              <a:rPr lang="en-US" sz="1800" dirty="0"/>
              <a:t>User features - (purchase power, demographics)  Item features - category, metadata</a:t>
            </a:r>
          </a:p>
          <a:p>
            <a:pPr lvl="1"/>
            <a:r>
              <a:rPr lang="en-US" sz="1800" dirty="0"/>
              <a:t>User/Item features - user/item category overlap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B62D59-1E5A-2B4C-8B14-9B8C7EF505A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pc="0" dirty="0"/>
              <a:t>Recommenders</a:t>
            </a:r>
          </a:p>
        </p:txBody>
      </p:sp>
    </p:spTree>
    <p:extLst>
      <p:ext uri="{BB962C8B-B14F-4D97-AF65-F5344CB8AC3E}">
        <p14:creationId xmlns:p14="http://schemas.microsoft.com/office/powerpoint/2010/main" val="79815838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CONTENT-BASED RECOMMENDATION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E0CAD2E-FE89-5549-91E8-8D312E6CC9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One notable example of content-based filtering is Pandora, which maps  songs into a feature space using features (or “genes”) designed by the  Music Genome Project.</a:t>
            </a:r>
          </a:p>
          <a:p>
            <a:endParaRPr lang="en-US" sz="2000" dirty="0"/>
          </a:p>
          <a:p>
            <a:r>
              <a:rPr lang="en-US" sz="2000" dirty="0"/>
              <a:t>Using song vectors that depend on these features, Pandora can create a  station with music having similar properties to a song, genre, artist etc.  the user selects.</a:t>
            </a:r>
          </a:p>
          <a:p>
            <a:endParaRPr lang="en-US" sz="2000" dirty="0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CONTENT-BASED RECOMMENDATION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019E3B4-D896-DA44-8B6E-D032CDC31A9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Content-based recommendation has some diﬃculties:</a:t>
            </a:r>
          </a:p>
          <a:p>
            <a:pPr lvl="1"/>
            <a:r>
              <a:rPr lang="en-US" sz="1800" dirty="0"/>
              <a:t>need to map each item into a feature space (usually by hand!)</a:t>
            </a:r>
          </a:p>
          <a:p>
            <a:pPr lvl="1"/>
            <a:r>
              <a:rPr lang="en-US" sz="1800" dirty="0"/>
              <a:t>recommendations are limited in scope (items must be similar to each other)</a:t>
            </a:r>
          </a:p>
          <a:p>
            <a:pPr lvl="1"/>
            <a:r>
              <a:rPr lang="en-US" sz="1800" dirty="0"/>
              <a:t>hard to create cross-content recommendations (</a:t>
            </a:r>
            <a:r>
              <a:rPr lang="en-US" sz="1800" dirty="0" err="1"/>
              <a:t>eg</a:t>
            </a:r>
            <a:r>
              <a:rPr lang="en-US" sz="1800" dirty="0"/>
              <a:t> books/music films…this  would require comparing elements from diﬀerent feature spaces!)</a:t>
            </a: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C39FC01-4B6C-474D-A353-EC77255CE8B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b"/>
          <a:lstStyle/>
          <a:p>
            <a:r>
              <a:rPr lang="en-US" dirty="0"/>
              <a:t>Collaborative Filtering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C5D5B2CF-F9DB-694B-8D63-06F35CDCB66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92500" lnSpcReduction="20000"/>
          </a:bodyPr>
          <a:lstStyle/>
          <a:p>
            <a:endParaRPr lang="en-US"/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MMENDATION SYSTEMS</a:t>
            </a:r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7534A5C-7A51-7245-95E1-DA3A63A03B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/>
              <a:t>The purpose of a recommendation system is to decide whether an  item (product, event, movie, song) is something a user is highly likely to  be interested in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REFRAMED AS:</a:t>
            </a:r>
          </a:p>
          <a:p>
            <a:r>
              <a:rPr lang="en-US" dirty="0"/>
              <a:t>The purpose of a recommendation system is to predict a rating that a  user will give an item that they have not yet rated.</a:t>
            </a:r>
          </a:p>
          <a:p>
            <a:endParaRPr lang="en-US" dirty="0"/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LABORATIVE FILTERING</a:t>
            </a:r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9FB0B4F-9264-0246-8FAF-DC58FF37BF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dirty="0"/>
              <a:t>Collaborative filtering refers to a family of methods for predicting  ratings where instead of thinking about users and items in terms of a  feature space, we are only interested in the existing user-item ratings  themselves.</a:t>
            </a:r>
          </a:p>
          <a:p>
            <a:endParaRPr lang="en-US" dirty="0"/>
          </a:p>
          <a:p>
            <a:r>
              <a:rPr lang="en-US" dirty="0"/>
              <a:t>In this case, our dataset is a ratings matrix whose columns correspond  to items, and whose rows correspond to users.</a:t>
            </a:r>
          </a:p>
          <a:p>
            <a:endParaRPr lang="en-US" dirty="0"/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INGS MATRIX</a:t>
            </a:r>
          </a:p>
        </p:txBody>
      </p:sp>
      <p:sp>
        <p:nvSpPr>
          <p:cNvPr id="4" name="object 4"/>
          <p:cNvSpPr/>
          <p:nvPr/>
        </p:nvSpPr>
        <p:spPr>
          <a:xfrm>
            <a:off x="2260600" y="1219200"/>
            <a:ext cx="4686300" cy="37719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7485062" y="1409700"/>
            <a:ext cx="1463675" cy="1676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7594600" y="1485900"/>
            <a:ext cx="1228090" cy="8356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300" b="1" spc="-360" dirty="0">
                <a:latin typeface="Arial"/>
                <a:cs typeface="Arial"/>
              </a:rPr>
              <a:t>NOTE</a:t>
            </a:r>
            <a:endParaRPr sz="130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endParaRPr sz="1300">
              <a:latin typeface="Times New Roman"/>
              <a:cs typeface="Times New Roman"/>
            </a:endParaRPr>
          </a:p>
          <a:p>
            <a:pPr marL="12700" marR="5080">
              <a:lnSpc>
                <a:spcPct val="101899"/>
              </a:lnSpc>
              <a:spcBef>
                <a:spcPts val="1125"/>
              </a:spcBef>
            </a:pPr>
            <a:r>
              <a:rPr sz="900" spc="20" dirty="0">
                <a:latin typeface="Georgia"/>
                <a:cs typeface="Georgia"/>
              </a:rPr>
              <a:t>This </a:t>
            </a:r>
            <a:r>
              <a:rPr sz="900" spc="15" dirty="0">
                <a:latin typeface="Georgia"/>
                <a:cs typeface="Georgia"/>
              </a:rPr>
              <a:t>matrix </a:t>
            </a:r>
            <a:r>
              <a:rPr sz="900" spc="-5" dirty="0">
                <a:latin typeface="Georgia"/>
                <a:cs typeface="Georgia"/>
              </a:rPr>
              <a:t>will</a:t>
            </a:r>
            <a:r>
              <a:rPr sz="900" spc="-85" dirty="0">
                <a:latin typeface="Georgia"/>
                <a:cs typeface="Georgia"/>
              </a:rPr>
              <a:t> </a:t>
            </a:r>
            <a:r>
              <a:rPr sz="900" spc="20" dirty="0">
                <a:latin typeface="Georgia"/>
                <a:cs typeface="Georgia"/>
              </a:rPr>
              <a:t>always  </a:t>
            </a:r>
            <a:r>
              <a:rPr sz="900" spc="15" dirty="0">
                <a:latin typeface="Georgia"/>
                <a:cs typeface="Georgia"/>
              </a:rPr>
              <a:t>be</a:t>
            </a:r>
            <a:r>
              <a:rPr sz="900" spc="-5" dirty="0">
                <a:latin typeface="Georgia"/>
                <a:cs typeface="Georgia"/>
              </a:rPr>
              <a:t> </a:t>
            </a:r>
            <a:r>
              <a:rPr sz="900" i="1" spc="15" dirty="0">
                <a:latin typeface="Georgia"/>
                <a:cs typeface="Georgia"/>
              </a:rPr>
              <a:t>sparse</a:t>
            </a:r>
            <a:r>
              <a:rPr sz="900" spc="15" dirty="0">
                <a:latin typeface="Georgia"/>
                <a:cs typeface="Georgia"/>
              </a:rPr>
              <a:t>!</a:t>
            </a:r>
            <a:endParaRPr sz="900">
              <a:latin typeface="Georgia"/>
              <a:cs typeface="Georgi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317500" y="4940300"/>
            <a:ext cx="4255135" cy="1473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i="1" spc="5" dirty="0">
                <a:latin typeface="Georgia"/>
                <a:cs typeface="Georgia"/>
              </a:rPr>
              <a:t>source:</a:t>
            </a:r>
            <a:r>
              <a:rPr sz="800" i="1" spc="175" dirty="0">
                <a:latin typeface="Georgia"/>
                <a:cs typeface="Georgia"/>
              </a:rPr>
              <a:t> </a:t>
            </a:r>
            <a:r>
              <a:rPr sz="800" i="1" spc="-5" dirty="0">
                <a:latin typeface="Georgia"/>
                <a:cs typeface="Georgia"/>
                <a:hlinkClick r:id="rId5"/>
              </a:rPr>
              <a:t>http://www.eecs.berkeley.edu/~zhanghao/main/publications/subfolder/netflix.png</a:t>
            </a:r>
            <a:endParaRPr sz="800">
              <a:latin typeface="Georgia"/>
              <a:cs typeface="Georgia"/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LABORATIVE FILTERING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903360E-C0AD-294E-A9F8-24E2E237E8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/>
              <a:t>Collaborative filtering can be done in two diﬀerent ways.</a:t>
            </a:r>
          </a:p>
          <a:p>
            <a:r>
              <a:rPr lang="en-US" u="sng" dirty="0"/>
              <a:t>Item-based CF </a:t>
            </a:r>
            <a:r>
              <a:rPr lang="en-US" dirty="0"/>
              <a:t>uses ratings data to create an item-item similarity  matrix.</a:t>
            </a:r>
          </a:p>
          <a:p>
            <a:pPr lvl="1"/>
            <a:r>
              <a:rPr lang="en-US" dirty="0"/>
              <a:t>Recommendations are then made to a user for items most similar to  those that the user has already rated highly.</a:t>
            </a:r>
          </a:p>
          <a:p>
            <a:pPr lvl="1"/>
            <a:r>
              <a:rPr lang="en-US" dirty="0"/>
              <a:t>This is also called memory-based CF or neighborhood methods</a:t>
            </a:r>
          </a:p>
          <a:p>
            <a:endParaRPr lang="en-US" dirty="0"/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LABORATIVE FILTERING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20AABA4F-D1E5-3B4A-AA4B-73D23C32E8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8590" y="1219520"/>
            <a:ext cx="4152760" cy="3216535"/>
          </a:xfrm>
        </p:spPr>
        <p:txBody>
          <a:bodyPr>
            <a:normAutofit/>
          </a:bodyPr>
          <a:lstStyle/>
          <a:p>
            <a:r>
              <a:rPr lang="en-US" sz="2400" dirty="0"/>
              <a:t>Neighborhood methods such as item-based CF are popular and easy to  understand, but they don’t scale well.</a:t>
            </a:r>
          </a:p>
          <a:p>
            <a:endParaRPr lang="en-US" sz="2400" dirty="0"/>
          </a:p>
        </p:txBody>
      </p:sp>
      <p:sp>
        <p:nvSpPr>
          <p:cNvPr id="5" name="object 5"/>
          <p:cNvSpPr/>
          <p:nvPr/>
        </p:nvSpPr>
        <p:spPr>
          <a:xfrm>
            <a:off x="4508500" y="2082800"/>
            <a:ext cx="3073400" cy="27178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7739671" y="2209800"/>
            <a:ext cx="1463675" cy="251441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7848600" y="2349500"/>
            <a:ext cx="1213485" cy="1927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300" b="1" spc="-360" dirty="0">
                <a:latin typeface="Arial"/>
                <a:cs typeface="Arial"/>
              </a:rPr>
              <a:t>NOTE</a:t>
            </a:r>
            <a:endParaRPr sz="130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endParaRPr sz="1300">
              <a:latin typeface="Times New Roman"/>
              <a:cs typeface="Times New Roman"/>
            </a:endParaRPr>
          </a:p>
          <a:p>
            <a:pPr marL="12700" marR="23495">
              <a:lnSpc>
                <a:spcPct val="101899"/>
              </a:lnSpc>
              <a:spcBef>
                <a:spcPts val="925"/>
              </a:spcBef>
            </a:pPr>
            <a:r>
              <a:rPr sz="900" spc="10" dirty="0">
                <a:latin typeface="Georgia"/>
                <a:cs typeface="Georgia"/>
              </a:rPr>
              <a:t>Item-based </a:t>
            </a:r>
            <a:r>
              <a:rPr sz="900" spc="60" dirty="0">
                <a:latin typeface="Georgia"/>
                <a:cs typeface="Georgia"/>
              </a:rPr>
              <a:t>CF </a:t>
            </a:r>
            <a:r>
              <a:rPr sz="900" spc="15" dirty="0">
                <a:latin typeface="Georgia"/>
                <a:cs typeface="Georgia"/>
              </a:rPr>
              <a:t>is  </a:t>
            </a:r>
            <a:r>
              <a:rPr sz="900" spc="5" dirty="0">
                <a:latin typeface="Georgia"/>
                <a:cs typeface="Georgia"/>
              </a:rPr>
              <a:t>different </a:t>
            </a:r>
            <a:r>
              <a:rPr sz="900" spc="10" dirty="0">
                <a:latin typeface="Georgia"/>
                <a:cs typeface="Georgia"/>
              </a:rPr>
              <a:t>than</a:t>
            </a:r>
            <a:r>
              <a:rPr sz="900" spc="-45" dirty="0">
                <a:latin typeface="Georgia"/>
                <a:cs typeface="Georgia"/>
              </a:rPr>
              <a:t> </a:t>
            </a:r>
            <a:r>
              <a:rPr sz="900" dirty="0">
                <a:latin typeface="Georgia"/>
                <a:cs typeface="Georgia"/>
              </a:rPr>
              <a:t>content-  </a:t>
            </a:r>
            <a:r>
              <a:rPr sz="900" spc="20" dirty="0">
                <a:latin typeface="Georgia"/>
                <a:cs typeface="Georgia"/>
              </a:rPr>
              <a:t>based</a:t>
            </a:r>
            <a:r>
              <a:rPr sz="900" spc="-5" dirty="0">
                <a:latin typeface="Georgia"/>
                <a:cs typeface="Georgia"/>
              </a:rPr>
              <a:t> filtering!</a:t>
            </a:r>
            <a:endParaRPr sz="900">
              <a:latin typeface="Georgia"/>
              <a:cs typeface="Georgia"/>
            </a:endParaRPr>
          </a:p>
          <a:p>
            <a:pPr>
              <a:lnSpc>
                <a:spcPct val="100000"/>
              </a:lnSpc>
              <a:spcBef>
                <a:spcPts val="5"/>
              </a:spcBef>
            </a:pPr>
            <a:endParaRPr sz="950">
              <a:latin typeface="Times New Roman"/>
              <a:cs typeface="Times New Roman"/>
            </a:endParaRPr>
          </a:p>
          <a:p>
            <a:pPr marL="12700" marR="5080">
              <a:lnSpc>
                <a:spcPct val="101899"/>
              </a:lnSpc>
            </a:pPr>
            <a:r>
              <a:rPr sz="900" spc="15" dirty="0">
                <a:latin typeface="Georgia"/>
                <a:cs typeface="Georgia"/>
              </a:rPr>
              <a:t>Though </a:t>
            </a:r>
            <a:r>
              <a:rPr sz="900" spc="30" dirty="0">
                <a:latin typeface="Georgia"/>
                <a:cs typeface="Georgia"/>
              </a:rPr>
              <a:t>we’re </a:t>
            </a:r>
            <a:r>
              <a:rPr sz="900" spc="10" dirty="0">
                <a:latin typeface="Georgia"/>
                <a:cs typeface="Georgia"/>
              </a:rPr>
              <a:t>making  </a:t>
            </a:r>
            <a:r>
              <a:rPr sz="900" spc="15" dirty="0">
                <a:latin typeface="Georgia"/>
                <a:cs typeface="Georgia"/>
              </a:rPr>
              <a:t>recommendations  </a:t>
            </a:r>
            <a:r>
              <a:rPr sz="900" spc="20" dirty="0">
                <a:latin typeface="Georgia"/>
                <a:cs typeface="Georgia"/>
              </a:rPr>
              <a:t>based </a:t>
            </a:r>
            <a:r>
              <a:rPr sz="900" spc="-5" dirty="0">
                <a:latin typeface="Georgia"/>
                <a:cs typeface="Georgia"/>
              </a:rPr>
              <a:t>on </a:t>
            </a:r>
            <a:r>
              <a:rPr sz="900" spc="10" dirty="0">
                <a:latin typeface="Georgia"/>
                <a:cs typeface="Georgia"/>
              </a:rPr>
              <a:t>items, </a:t>
            </a:r>
            <a:r>
              <a:rPr sz="900" spc="25" dirty="0">
                <a:latin typeface="Georgia"/>
                <a:cs typeface="Georgia"/>
              </a:rPr>
              <a:t>we</a:t>
            </a:r>
            <a:r>
              <a:rPr sz="900" spc="-65" dirty="0">
                <a:latin typeface="Georgia"/>
                <a:cs typeface="Georgia"/>
              </a:rPr>
              <a:t> </a:t>
            </a:r>
            <a:r>
              <a:rPr sz="900" spc="35" dirty="0">
                <a:latin typeface="Georgia"/>
                <a:cs typeface="Georgia"/>
              </a:rPr>
              <a:t>are  </a:t>
            </a:r>
            <a:r>
              <a:rPr sz="900" i="1" spc="5" dirty="0">
                <a:latin typeface="Georgia"/>
                <a:cs typeface="Georgia"/>
              </a:rPr>
              <a:t>not </a:t>
            </a:r>
            <a:r>
              <a:rPr sz="900" spc="5" dirty="0">
                <a:latin typeface="Georgia"/>
                <a:cs typeface="Georgia"/>
              </a:rPr>
              <a:t>embedding </a:t>
            </a:r>
            <a:r>
              <a:rPr sz="900" spc="15" dirty="0">
                <a:latin typeface="Georgia"/>
                <a:cs typeface="Georgia"/>
              </a:rPr>
              <a:t>the  </a:t>
            </a:r>
            <a:r>
              <a:rPr sz="900" spc="20" dirty="0">
                <a:latin typeface="Georgia"/>
                <a:cs typeface="Georgia"/>
              </a:rPr>
              <a:t>items </a:t>
            </a:r>
            <a:r>
              <a:rPr sz="900" spc="-10" dirty="0">
                <a:latin typeface="Georgia"/>
                <a:cs typeface="Georgia"/>
              </a:rPr>
              <a:t>in </a:t>
            </a:r>
            <a:r>
              <a:rPr sz="900" spc="35" dirty="0">
                <a:latin typeface="Georgia"/>
                <a:cs typeface="Georgia"/>
              </a:rPr>
              <a:t>a </a:t>
            </a:r>
            <a:r>
              <a:rPr sz="900" spc="15" dirty="0">
                <a:latin typeface="Georgia"/>
                <a:cs typeface="Georgia"/>
              </a:rPr>
              <a:t>feature  </a:t>
            </a:r>
            <a:r>
              <a:rPr sz="900" spc="20" dirty="0">
                <a:latin typeface="Georgia"/>
                <a:cs typeface="Georgia"/>
              </a:rPr>
              <a:t>space.</a:t>
            </a:r>
            <a:endParaRPr sz="900">
              <a:latin typeface="Georgia"/>
              <a:cs typeface="Georgia"/>
            </a:endParaRP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LABORATIVE FILTERING</a:t>
            </a:r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E8ACAB7-F046-AB41-8D1D-A6661E5258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u="sng" dirty="0"/>
              <a:t>Model-based collaborative </a:t>
            </a:r>
            <a:r>
              <a:rPr lang="en-US" dirty="0"/>
              <a:t>filtering abandons the neighborhood  approach and applies other techniques to the ratings matrix.</a:t>
            </a:r>
          </a:p>
          <a:p>
            <a:pPr lvl="1"/>
            <a:r>
              <a:rPr lang="en-US" dirty="0"/>
              <a:t>The most popular model-based CF techniques use matrix  decomposition techniques to find deeper structure in the ratings data.</a:t>
            </a:r>
          </a:p>
          <a:p>
            <a:pPr lvl="1"/>
            <a:r>
              <a:rPr lang="en-US" dirty="0"/>
              <a:t>For example, we could decompose the ratings matrix via SVD to reduce  the dimensionality and extract latent variables.</a:t>
            </a:r>
          </a:p>
          <a:p>
            <a:endParaRPr lang="en-US" dirty="0"/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LABORATIVE FILTERING</a:t>
            </a:r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1F9A460-04A1-414D-B72B-62E41353DF3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dirty="0"/>
              <a:t>Once we identify the latent variables in the ratings matrix, we can  express both users and items in terms of these latent variables.</a:t>
            </a:r>
          </a:p>
          <a:p>
            <a:r>
              <a:rPr lang="en-US" dirty="0"/>
              <a:t>As before, values in the item vectors represent the degree to which an  item exhibits a given feature, and values in the user vectors represent  user preferences for a given feature.</a:t>
            </a:r>
          </a:p>
          <a:p>
            <a:r>
              <a:rPr lang="en-US" dirty="0"/>
              <a:t>Ratings are constructed by taking dot products of user &amp; item vectors in  the latent feature space.</a:t>
            </a:r>
          </a:p>
          <a:p>
            <a:endParaRPr lang="en-US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07B5-E051-2045-B21F-CFFC59221E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pc="0" dirty="0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F7A418-C8BC-5D4D-8A62-825E869CF2C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pc="0" dirty="0"/>
              <a:t>RECOMMENDER SYSTEMS</a:t>
            </a:r>
          </a:p>
          <a:p>
            <a:r>
              <a:rPr lang="en-US" spc="0" dirty="0"/>
              <a:t>CONTENT-BASED RECOMMENDATION</a:t>
            </a:r>
          </a:p>
          <a:p>
            <a:r>
              <a:rPr lang="en-US" spc="0" dirty="0"/>
              <a:t>COLLABORATIVE FILTERING</a:t>
            </a:r>
          </a:p>
          <a:p>
            <a:r>
              <a:rPr lang="en-US" spc="0" dirty="0"/>
              <a:t>HANDS-ON: RECOMMENDER SYSTEMS</a:t>
            </a:r>
          </a:p>
          <a:p>
            <a:endParaRPr lang="en-US" spc="0" dirty="0"/>
          </a:p>
          <a:p>
            <a:endParaRPr lang="en-US" spc="0" dirty="0"/>
          </a:p>
        </p:txBody>
      </p:sp>
    </p:spTree>
    <p:extLst>
      <p:ext uri="{BB962C8B-B14F-4D97-AF65-F5344CB8AC3E}">
        <p14:creationId xmlns:p14="http://schemas.microsoft.com/office/powerpoint/2010/main" val="210008799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LABORATIVE FILTERING</a:t>
            </a:r>
            <a:endParaRPr lang="en-US"/>
          </a:p>
        </p:txBody>
      </p:sp>
      <p:sp>
        <p:nvSpPr>
          <p:cNvPr id="4" name="object 4"/>
          <p:cNvSpPr/>
          <p:nvPr/>
        </p:nvSpPr>
        <p:spPr>
          <a:xfrm>
            <a:off x="2425700" y="965200"/>
            <a:ext cx="4483100" cy="39497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177800" y="4940300"/>
            <a:ext cx="3942079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i="1" spc="5" dirty="0">
                <a:latin typeface="Georgia"/>
                <a:cs typeface="Georgia"/>
              </a:rPr>
              <a:t>source:</a:t>
            </a:r>
            <a:r>
              <a:rPr sz="900" i="1" spc="110" dirty="0">
                <a:latin typeface="Georgia"/>
                <a:cs typeface="Georgia"/>
              </a:rPr>
              <a:t> </a:t>
            </a:r>
            <a:r>
              <a:rPr sz="900" i="1" spc="-5" dirty="0">
                <a:latin typeface="Georgia"/>
                <a:cs typeface="Georgia"/>
                <a:hlinkClick r:id="rId3"/>
              </a:rPr>
              <a:t>http://www2.research.att.com/~volinsky/papers/ieeecomputer.pdf</a:t>
            </a:r>
            <a:endParaRPr sz="900">
              <a:latin typeface="Georgia"/>
              <a:cs typeface="Georgia"/>
            </a:endParaRP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LABORATIVE FILTERING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D942E18-C0A4-BF45-94EE-AA8DCE25FD5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/>
              <a:t>This approach is domain independent, and requires no explicit user or  item profiles to be created.</a:t>
            </a:r>
          </a:p>
          <a:p>
            <a:r>
              <a:rPr lang="en-US" dirty="0"/>
              <a:t>It combines predictive accuracy, scalability, and enough flexibility for  practical modeling (we’ll see what this means in a moment).</a:t>
            </a:r>
          </a:p>
          <a:p>
            <a:r>
              <a:rPr lang="en-US" dirty="0"/>
              <a:t>Since the conclusion of the Netflix prize, these latent factor methods for  collaborative filtering have been regarded as the state-of-the-art in  </a:t>
            </a:r>
            <a:r>
              <a:rPr lang="en-US" dirty="0" err="1"/>
              <a:t>recsys</a:t>
            </a:r>
            <a:r>
              <a:rPr lang="en-US" dirty="0"/>
              <a:t> technology.</a:t>
            </a:r>
          </a:p>
          <a:p>
            <a:endParaRPr lang="en-US" dirty="0"/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LABORATIVE FILTERING</a:t>
            </a:r>
          </a:p>
        </p:txBody>
      </p:sp>
      <p:sp>
        <p:nvSpPr>
          <p:cNvPr id="5" name="object 5"/>
          <p:cNvSpPr txBox="1"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en-US" dirty="0"/>
              <a:t>But they do have some drawbacks:</a:t>
            </a:r>
          </a:p>
          <a:p>
            <a:pPr lvl="1"/>
            <a:r>
              <a:rPr lang="en-US" dirty="0"/>
              <a:t>lots of (high-dimensional) ratings data needed</a:t>
            </a:r>
          </a:p>
          <a:p>
            <a:pPr lvl="1"/>
            <a:r>
              <a:rPr lang="en-US" dirty="0"/>
              <a:t>data is typically very sparse (in the Netflix prize dataset, ~99% of possible  ratings were missing)</a:t>
            </a:r>
          </a:p>
          <a:p>
            <a:pPr lvl="1"/>
            <a:r>
              <a:rPr lang="en-US" u="sng" dirty="0"/>
              <a:t>cold start problem</a:t>
            </a:r>
            <a:r>
              <a:rPr lang="en-US" dirty="0"/>
              <a:t>: need lots of data on new user or item before  recommendations can be made</a:t>
            </a: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D START PROBLEM</a:t>
            </a:r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C9495CD-DFB9-9740-97DA-4B8E4312B63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dirty="0"/>
              <a:t>The </a:t>
            </a:r>
            <a:r>
              <a:rPr lang="en-US" u="sng" dirty="0"/>
              <a:t>cold start problem </a:t>
            </a:r>
            <a:r>
              <a:rPr lang="en-US" dirty="0"/>
              <a:t>arises because we’ve been relying only on  ratings data, or on explicit feedback from users.</a:t>
            </a:r>
          </a:p>
          <a:p>
            <a:r>
              <a:rPr lang="en-US" dirty="0"/>
              <a:t>Until a user rates several items, we don’t know anything about her  preferences!</a:t>
            </a:r>
          </a:p>
          <a:p>
            <a:r>
              <a:rPr lang="en-US" dirty="0"/>
              <a:t>We can get around this by enhancing our recommendations using  implicit feedback, which may include things like item browsing  behavior, search patterns, purchase history, etc.</a:t>
            </a:r>
          </a:p>
          <a:p>
            <a:endParaRPr lang="en-US" dirty="0"/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D START PROBLEM</a:t>
            </a:r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3084D92-42D2-9E44-84C6-753A1C40D57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dirty="0"/>
              <a:t>While explicit feedback (ratings, likes, purchases) leads to high quality  ratings, the data is sparse and cold starts are problematic.</a:t>
            </a:r>
          </a:p>
          <a:p>
            <a:r>
              <a:rPr lang="en-US" dirty="0"/>
              <a:t>Meanwhile implicit feedback (browsing behavior, </a:t>
            </a:r>
            <a:r>
              <a:rPr lang="en-US" dirty="0" err="1"/>
              <a:t>etc</a:t>
            </a:r>
            <a:r>
              <a:rPr lang="en-US" dirty="0"/>
              <a:t>) leads to less  accurate ratings, but the data is much more dense (and less invasive to  collect).</a:t>
            </a:r>
          </a:p>
          <a:p>
            <a:r>
              <a:rPr lang="en-US" dirty="0"/>
              <a:t>Implicit feedback can help to infer user preferences when explicit  feedback is not available, therefore easing the cold start problem.</a:t>
            </a:r>
          </a:p>
          <a:p>
            <a:endParaRPr lang="en-US" dirty="0"/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BRID METHODS</a:t>
            </a:r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48C5651-8840-CB41-AEC9-2300598EA7C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/>
              <a:t>Hybrid filtering methods provide another way to get around the cold  start problem by combining filtering methods (</a:t>
            </a:r>
            <a:r>
              <a:rPr lang="en-US" dirty="0" err="1"/>
              <a:t>eg</a:t>
            </a:r>
            <a:r>
              <a:rPr lang="en-US" dirty="0"/>
              <a:t>, by using content-  based info to “boost” a collaborative model).</a:t>
            </a:r>
          </a:p>
          <a:p>
            <a:r>
              <a:rPr lang="en-US" dirty="0"/>
              <a:t>This content-based info can be item-based as above, or even user-  based (</a:t>
            </a:r>
            <a:r>
              <a:rPr lang="en-US" dirty="0" err="1"/>
              <a:t>eg</a:t>
            </a:r>
            <a:r>
              <a:rPr lang="en-US" dirty="0"/>
              <a:t>, demographic info).</a:t>
            </a:r>
          </a:p>
          <a:p>
            <a:r>
              <a:rPr lang="en-US" dirty="0"/>
              <a:t>Hybrid methods can also make the data sparsity issue easier to deal  with, by broadening the set of features under consideration.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F06C53-8A2B-CB4C-80C8-BDDBB70EA1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pc="0" dirty="0"/>
              <a:t>Learning Goa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2699E6-F13B-0749-88D3-4DD413186D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spc="0" dirty="0"/>
              <a:t>What are Recommender Systems?</a:t>
            </a:r>
          </a:p>
          <a:p>
            <a:pPr lvl="1"/>
            <a:r>
              <a:rPr lang="en-US" spc="0" dirty="0"/>
              <a:t>Why do we need them?</a:t>
            </a:r>
          </a:p>
          <a:p>
            <a:pPr lvl="1"/>
            <a:r>
              <a:rPr lang="en-US" spc="0" dirty="0"/>
              <a:t>What are some common use cases?</a:t>
            </a:r>
          </a:p>
          <a:p>
            <a:r>
              <a:rPr lang="en-US" spc="0" dirty="0"/>
              <a:t>What are the 2 main types of Recommender Systems?</a:t>
            </a:r>
          </a:p>
          <a:p>
            <a:pPr lvl="1"/>
            <a:r>
              <a:rPr lang="en-US" spc="0" dirty="0"/>
              <a:t>How do they diﬀer?</a:t>
            </a:r>
          </a:p>
          <a:p>
            <a:pPr lvl="1"/>
            <a:r>
              <a:rPr lang="en-US" spc="0" dirty="0"/>
              <a:t>What are their respective strengths/weaknesses?</a:t>
            </a:r>
          </a:p>
          <a:p>
            <a:endParaRPr lang="en-US" spc="0" dirty="0"/>
          </a:p>
          <a:p>
            <a:endParaRPr lang="en-US" spc="0" dirty="0"/>
          </a:p>
        </p:txBody>
      </p:sp>
    </p:spTree>
    <p:extLst>
      <p:ext uri="{BB962C8B-B14F-4D97-AF65-F5344CB8AC3E}">
        <p14:creationId xmlns:p14="http://schemas.microsoft.com/office/powerpoint/2010/main" val="7593073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35AAF32-5F82-7B46-A520-441CC04C489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pc="0" dirty="0"/>
              <a:t>Recommender Systems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C999D0C-A311-C94C-B634-10C19512620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92500" lnSpcReduction="20000"/>
          </a:bodyPr>
          <a:lstStyle/>
          <a:p>
            <a:endParaRPr lang="en-US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2C2B63-75EF-0C4C-AD67-09E4DFB79F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pc="0" dirty="0"/>
              <a:t>Recommend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FAD502-9507-2B41-9404-3CC7B7FAC8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spc="0" dirty="0"/>
              <a:t>Q: What are Recommender Systems?</a:t>
            </a:r>
          </a:p>
          <a:p>
            <a:r>
              <a:rPr lang="en-US" spc="0" dirty="0"/>
              <a:t>A: Automated systems that seek to suggest whether a given item (product, event, movie, song, </a:t>
            </a:r>
            <a:r>
              <a:rPr lang="en-US" spc="0" dirty="0" err="1"/>
              <a:t>etc</a:t>
            </a:r>
            <a:r>
              <a:rPr lang="en-US" spc="0" dirty="0"/>
              <a:t>) will be desirable to a user.</a:t>
            </a:r>
          </a:p>
          <a:p>
            <a:endParaRPr lang="en-US" spc="0" dirty="0"/>
          </a:p>
          <a:p>
            <a:r>
              <a:rPr lang="en-US" spc="0" dirty="0"/>
              <a:t>They often build on the back of machine learning concepts we’ve seen  previously. They’ve become ubiquitous in today’s web-based world, so there are  many diﬀerent applications…</a:t>
            </a:r>
          </a:p>
          <a:p>
            <a:endParaRPr lang="en-US" spc="0" dirty="0"/>
          </a:p>
          <a:p>
            <a:endParaRPr lang="en-US" spc="0" dirty="0"/>
          </a:p>
        </p:txBody>
      </p:sp>
    </p:spTree>
    <p:extLst>
      <p:ext uri="{BB962C8B-B14F-4D97-AF65-F5344CB8AC3E}">
        <p14:creationId xmlns:p14="http://schemas.microsoft.com/office/powerpoint/2010/main" val="3242672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393700" y="1181441"/>
            <a:ext cx="8648700" cy="312346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4980DDF-359C-1948-BF77-32C37CB51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pc="0" dirty="0"/>
              <a:t>Examples - Amazon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520700" y="1384300"/>
            <a:ext cx="8445500" cy="3048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E3F8161-C0D9-4549-B9D6-11E50F16DC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pc="0" dirty="0"/>
              <a:t>Examples – Amazon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6A3D79B-941E-4F47-B34A-2251EE10825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0E3F8161-C0D9-4549-B9D6-11E50F16DC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pc="0" dirty="0"/>
              <a:t>Examples – Netflix</a:t>
            </a: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BE5D94FA-75CD-8340-9104-6BC77A627828}"/>
              </a:ext>
            </a:extLst>
          </p:cNvPr>
          <p:cNvSpPr/>
          <p:nvPr/>
        </p:nvSpPr>
        <p:spPr>
          <a:xfrm>
            <a:off x="1282700" y="1168400"/>
            <a:ext cx="6807200" cy="36703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078869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Metis-Theme-Blue">
  <a:themeElements>
    <a:clrScheme name="Custom 3">
      <a:dk1>
        <a:srgbClr val="000000"/>
      </a:dk1>
      <a:lt1>
        <a:srgbClr val="FFFFFF"/>
      </a:lt1>
      <a:dk2>
        <a:srgbClr val="454551"/>
      </a:dk2>
      <a:lt2>
        <a:srgbClr val="797979"/>
      </a:lt2>
      <a:accent1>
        <a:srgbClr val="EC138B"/>
      </a:accent1>
      <a:accent2>
        <a:srgbClr val="ED3167"/>
      </a:accent2>
      <a:accent3>
        <a:srgbClr val="359ED8"/>
      </a:accent3>
      <a:accent4>
        <a:srgbClr val="255E83"/>
      </a:accent4>
      <a:accent5>
        <a:srgbClr val="B7315B"/>
      </a:accent5>
      <a:accent6>
        <a:srgbClr val="253C6F"/>
      </a:accent6>
      <a:hlink>
        <a:srgbClr val="EC138B"/>
      </a:hlink>
      <a:folHlink>
        <a:srgbClr val="255E83"/>
      </a:folHlink>
    </a:clrScheme>
    <a:fontScheme name="Gill Sans MT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Ion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7000"/>
                <a:hueMod val="88000"/>
                <a:satMod val="130000"/>
                <a:lumMod val="124000"/>
              </a:schemeClr>
            </a:gs>
            <a:gs pos="100000">
              <a:schemeClr val="phClr">
                <a:tint val="96000"/>
                <a:shade val="88000"/>
                <a:hueMod val="108000"/>
                <a:satMod val="164000"/>
                <a:lumMod val="7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108000"/>
                <a:satMod val="164000"/>
                <a:lumMod val="74000"/>
              </a:schemeClr>
              <a:schemeClr val="phClr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</a:bgFillStyleLst>
    </a:fmtScheme>
  </a:themeElements>
  <a:objectDefaults>
    <a:txDef>
      <a:spPr/>
      <a:bodyPr vert="horz" wrap="square" lIns="0" tIns="30480" rIns="0" bIns="0" rtlCol="0">
        <a:spAutoFit/>
      </a:bodyPr>
      <a:lstStyle>
        <a:defPPr marL="12700" marR="5080" algn="l">
          <a:lnSpc>
            <a:spcPts val="3200"/>
          </a:lnSpc>
          <a:spcBef>
            <a:spcPts val="240"/>
          </a:spcBef>
          <a:defRPr sz="2700" dirty="0">
            <a:latin typeface="Arial"/>
            <a:cs typeface="Arial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etis-Theme-Blue" id="{460A5A4D-7399-4443-951D-CD37A1F27E0A}" vid="{8C32C979-581A-E641-BCBB-8E5ECE3F823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etis-Theme-Blue</Template>
  <TotalTime>53</TotalTime>
  <Words>1437</Words>
  <Application>Microsoft Macintosh PowerPoint</Application>
  <PresentationFormat>Custom</PresentationFormat>
  <Paragraphs>138</Paragraphs>
  <Slides>35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6" baseType="lpstr">
      <vt:lpstr>Arial</vt:lpstr>
      <vt:lpstr>Calibri</vt:lpstr>
      <vt:lpstr>DejaVu Sans</vt:lpstr>
      <vt:lpstr>Georgia</vt:lpstr>
      <vt:lpstr>Gill Sans MT</vt:lpstr>
      <vt:lpstr>Helvetica</vt:lpstr>
      <vt:lpstr>Times New Roman</vt:lpstr>
      <vt:lpstr>Trebuchet MS</vt:lpstr>
      <vt:lpstr>Wingdings 3</vt:lpstr>
      <vt:lpstr>Metis-Theme-Blue</vt:lpstr>
      <vt:lpstr>think-cell Slide</vt:lpstr>
      <vt:lpstr>  Metis </vt:lpstr>
      <vt:lpstr>Recommenders</vt:lpstr>
      <vt:lpstr>Agenda</vt:lpstr>
      <vt:lpstr>Learning Goals</vt:lpstr>
      <vt:lpstr>Recommender Systems</vt:lpstr>
      <vt:lpstr>Recommenders</vt:lpstr>
      <vt:lpstr>Examples - Amazon</vt:lpstr>
      <vt:lpstr>Examples – Amazon</vt:lpstr>
      <vt:lpstr>Examples – Netflix</vt:lpstr>
      <vt:lpstr>Examples – Netflix</vt:lpstr>
      <vt:lpstr>Examples – Youtube</vt:lpstr>
      <vt:lpstr>Examples – NYTimes</vt:lpstr>
      <vt:lpstr>Examples – NYTimes</vt:lpstr>
      <vt:lpstr>Recommender Systems</vt:lpstr>
      <vt:lpstr>Content Based Recommenders</vt:lpstr>
      <vt:lpstr>CONTENT-BASED RECOMMENDERS</vt:lpstr>
      <vt:lpstr>CONTENT-BASED RECOMMENDATION</vt:lpstr>
      <vt:lpstr>EXAMPLE – CONTENT-BASED RECOMMENDATION</vt:lpstr>
      <vt:lpstr>CONTENT-BASED RECOMMENDATION</vt:lpstr>
      <vt:lpstr>CONTENT-BASED RECOMMENDATION</vt:lpstr>
      <vt:lpstr>CONTENT-BASED RECOMMENDATION</vt:lpstr>
      <vt:lpstr>Collaborative Filtering</vt:lpstr>
      <vt:lpstr>RECOMMENDATION SYSTEMS</vt:lpstr>
      <vt:lpstr>COLLABORATIVE FILTERING</vt:lpstr>
      <vt:lpstr>RATINGS MATRIX</vt:lpstr>
      <vt:lpstr>COLLABORATIVE FILTERING</vt:lpstr>
      <vt:lpstr>COLLABORATIVE FILTERING</vt:lpstr>
      <vt:lpstr>COLLABORATIVE FILTERING</vt:lpstr>
      <vt:lpstr>COLLABORATIVE FILTERING</vt:lpstr>
      <vt:lpstr>COLLABORATIVE FILTERING</vt:lpstr>
      <vt:lpstr>COLLABORATIVE FILTERING</vt:lpstr>
      <vt:lpstr>COLLABORATIVE FILTERING</vt:lpstr>
      <vt:lpstr>COLD START PROBLEM</vt:lpstr>
      <vt:lpstr>COLD START PROBLEM</vt:lpstr>
      <vt:lpstr>HYBRID METHOD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 Metis </dc:title>
  <cp:lastModifiedBy>Sophia Ray</cp:lastModifiedBy>
  <cp:revision>10</cp:revision>
  <dcterms:created xsi:type="dcterms:W3CDTF">2018-11-20T20:31:39Z</dcterms:created>
  <dcterms:modified xsi:type="dcterms:W3CDTF">2018-11-20T21:40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stSaved">
    <vt:filetime>2018-11-20T00:00:00Z</vt:filetime>
  </property>
</Properties>
</file>